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5"/>
    <p:sldMasterId id="2147483668" r:id="rId6"/>
  </p:sldMasterIdLst>
  <p:notesMasterIdLst>
    <p:notesMasterId r:id="rId24"/>
  </p:notesMasterIdLst>
  <p:sldIdLst>
    <p:sldId id="318" r:id="rId7"/>
    <p:sldId id="330" r:id="rId8"/>
    <p:sldId id="343" r:id="rId9"/>
    <p:sldId id="325" r:id="rId10"/>
    <p:sldId id="344" r:id="rId11"/>
    <p:sldId id="345" r:id="rId12"/>
    <p:sldId id="361" r:id="rId13"/>
    <p:sldId id="354" r:id="rId14"/>
    <p:sldId id="363" r:id="rId15"/>
    <p:sldId id="366" r:id="rId16"/>
    <p:sldId id="356" r:id="rId17"/>
    <p:sldId id="367" r:id="rId18"/>
    <p:sldId id="357" r:id="rId19"/>
    <p:sldId id="364" r:id="rId20"/>
    <p:sldId id="365" r:id="rId21"/>
    <p:sldId id="362" r:id="rId22"/>
    <p:sldId id="312" r:id="rId23"/>
  </p:sldIdLst>
  <p:sldSz cx="11520488" cy="6480175"/>
  <p:notesSz cx="6858000" cy="9144000"/>
  <p:embeddedFontLst>
    <p:embeddedFont>
      <p:font typeface="Allianz Neo" panose="020B0504020203020204" pitchFamily="34" charset="0"/>
      <p:regular r:id="rId25"/>
      <p:bold r:id="rId26"/>
      <p:italic r:id="rId27"/>
      <p:boldItalic r:id="rId28"/>
    </p:embeddedFont>
    <p:embeddedFont>
      <p:font typeface="Allianz Neo PPT" panose="020B0604020202020204" charset="0"/>
      <p:regular r:id="rId29"/>
      <p:bold r:id="rId30"/>
      <p:italic r:id="rId31"/>
      <p:bold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Lucida Sans Unicode" panose="020B0602030504020204" pitchFamily="34" charset="0"/>
      <p:regular r:id="rId37"/>
    </p:embeddedFont>
  </p:embeddedFontLst>
  <p:custDataLst>
    <p:tags r:id="rId38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CBD8"/>
    <a:srgbClr val="FCB2C5"/>
    <a:srgbClr val="D1F1FF"/>
    <a:srgbClr val="EAF4F6"/>
    <a:srgbClr val="13A0D3"/>
    <a:srgbClr val="BCEACE"/>
    <a:srgbClr val="E2F6EA"/>
    <a:srgbClr val="BDEBFF"/>
    <a:srgbClr val="D9F3FF"/>
    <a:srgbClr val="FFF3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120" autoAdjust="0"/>
    <p:restoredTop sz="95662" autoAdjust="0"/>
  </p:normalViewPr>
  <p:slideViewPr>
    <p:cSldViewPr snapToGrid="0" showGuides="1">
      <p:cViewPr varScale="1">
        <p:scale>
          <a:sx n="143" d="100"/>
          <a:sy n="143" d="100"/>
        </p:scale>
        <p:origin x="13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2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10.fntdata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5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7.fntdata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, Joel (Allianz SE Singapore Branch)" userId="486d19b1-baff-43ec-8a47-06d94c11a22a" providerId="ADAL" clId="{79C35655-9945-47CC-AD84-C44BB0CFCD9E}"/>
    <pc:docChg chg="undo custSel addSld delSld modSld sldOrd replTag">
      <pc:chgData name="Chan, Joel (Allianz SE Singapore Branch)" userId="486d19b1-baff-43ec-8a47-06d94c11a22a" providerId="ADAL" clId="{79C35655-9945-47CC-AD84-C44BB0CFCD9E}" dt="2023-04-03T02:00:46.970" v="2785" actId="47"/>
      <pc:docMkLst>
        <pc:docMk/>
      </pc:docMkLst>
      <pc:sldChg chg="modSp mod ord">
        <pc:chgData name="Chan, Joel (Allianz SE Singapore Branch)" userId="486d19b1-baff-43ec-8a47-06d94c11a22a" providerId="ADAL" clId="{79C35655-9945-47CC-AD84-C44BB0CFCD9E}" dt="2023-03-31T05:16:17.236" v="2544" actId="6549"/>
        <pc:sldMkLst>
          <pc:docMk/>
          <pc:sldMk cId="926684835" sldId="312"/>
        </pc:sldMkLst>
        <pc:graphicFrameChg chg="modGraphic">
          <ac:chgData name="Chan, Joel (Allianz SE Singapore Branch)" userId="486d19b1-baff-43ec-8a47-06d94c11a22a" providerId="ADAL" clId="{79C35655-9945-47CC-AD84-C44BB0CFCD9E}" dt="2023-03-31T05:16:12.960" v="2543" actId="6549"/>
          <ac:graphicFrameMkLst>
            <pc:docMk/>
            <pc:sldMk cId="926684835" sldId="312"/>
            <ac:graphicFrameMk id="12" creationId="{4972E448-E9CD-4EAC-ADE8-AF96BAF3B4FB}"/>
          </ac:graphicFrameMkLst>
        </pc:graphicFrameChg>
        <pc:graphicFrameChg chg="modGraphic">
          <ac:chgData name="Chan, Joel (Allianz SE Singapore Branch)" userId="486d19b1-baff-43ec-8a47-06d94c11a22a" providerId="ADAL" clId="{79C35655-9945-47CC-AD84-C44BB0CFCD9E}" dt="2023-03-31T05:16:17.236" v="2544" actId="6549"/>
          <ac:graphicFrameMkLst>
            <pc:docMk/>
            <pc:sldMk cId="926684835" sldId="312"/>
            <ac:graphicFrameMk id="21" creationId="{3FF5303E-B672-4C91-88FA-BE34D4EE5191}"/>
          </ac:graphicFrameMkLst>
        </pc:graphicFrameChg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3424172373" sldId="313"/>
        </pc:sldMkLst>
      </pc:sldChg>
      <pc:sldChg chg="del ord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2988009286" sldId="321"/>
        </pc:sldMkLst>
      </pc:sldChg>
      <pc:sldChg chg="del">
        <pc:chgData name="Chan, Joel (Allianz SE Singapore Branch)" userId="486d19b1-baff-43ec-8a47-06d94c11a22a" providerId="ADAL" clId="{79C35655-9945-47CC-AD84-C44BB0CFCD9E}" dt="2023-03-30T15:11:19.032" v="4" actId="47"/>
        <pc:sldMkLst>
          <pc:docMk/>
          <pc:sldMk cId="140688261" sldId="322"/>
        </pc:sldMkLst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3794999500" sldId="323"/>
        </pc:sldMkLst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3020000987" sldId="326"/>
        </pc:sldMkLst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1377735216" sldId="329"/>
        </pc:sldMkLst>
      </pc:sldChg>
      <pc:sldChg chg="del">
        <pc:chgData name="Chan, Joel (Allianz SE Singapore Branch)" userId="486d19b1-baff-43ec-8a47-06d94c11a22a" providerId="ADAL" clId="{79C35655-9945-47CC-AD84-C44BB0CFCD9E}" dt="2023-03-30T15:31:40.951" v="1021" actId="47"/>
        <pc:sldMkLst>
          <pc:docMk/>
          <pc:sldMk cId="632216239" sldId="332"/>
        </pc:sldMkLst>
      </pc:sldChg>
      <pc:sldChg chg="del">
        <pc:chgData name="Chan, Joel (Allianz SE Singapore Branch)" userId="486d19b1-baff-43ec-8a47-06d94c11a22a" providerId="ADAL" clId="{79C35655-9945-47CC-AD84-C44BB0CFCD9E}" dt="2023-03-30T15:31:42.640" v="1022" actId="47"/>
        <pc:sldMkLst>
          <pc:docMk/>
          <pc:sldMk cId="4055555262" sldId="334"/>
        </pc:sldMkLst>
      </pc:sldChg>
      <pc:sldChg chg="del">
        <pc:chgData name="Chan, Joel (Allianz SE Singapore Branch)" userId="486d19b1-baff-43ec-8a47-06d94c11a22a" providerId="ADAL" clId="{79C35655-9945-47CC-AD84-C44BB0CFCD9E}" dt="2023-03-30T15:11:53.059" v="9" actId="47"/>
        <pc:sldMkLst>
          <pc:docMk/>
          <pc:sldMk cId="1903923561" sldId="336"/>
        </pc:sldMkLst>
      </pc:sldChg>
      <pc:sldChg chg="addSp delSp modSp mod ord">
        <pc:chgData name="Chan, Joel (Allianz SE Singapore Branch)" userId="486d19b1-baff-43ec-8a47-06d94c11a22a" providerId="ADAL" clId="{79C35655-9945-47CC-AD84-C44BB0CFCD9E}" dt="2023-03-31T02:41:45.051" v="2032" actId="478"/>
        <pc:sldMkLst>
          <pc:docMk/>
          <pc:sldMk cId="2663922343" sldId="337"/>
        </pc:sldMkLst>
        <pc:spChg chg="mod">
          <ac:chgData name="Chan, Joel (Allianz SE Singapore Branch)" userId="486d19b1-baff-43ec-8a47-06d94c11a22a" providerId="ADAL" clId="{79C35655-9945-47CC-AD84-C44BB0CFCD9E}" dt="2023-03-31T02:41:41.696" v="1989" actId="948"/>
          <ac:spMkLst>
            <pc:docMk/>
            <pc:sldMk cId="2663922343" sldId="337"/>
            <ac:spMk id="2" creationId="{F4D8679F-976F-4A87-93E4-373065C089FE}"/>
          </ac:spMkLst>
        </pc:spChg>
        <pc:spChg chg="del">
          <ac:chgData name="Chan, Joel (Allianz SE Singapore Branch)" userId="486d19b1-baff-43ec-8a47-06d94c11a22a" providerId="ADAL" clId="{79C35655-9945-47CC-AD84-C44BB0CFCD9E}" dt="2023-03-31T02:41:34.045" v="1912" actId="478"/>
          <ac:spMkLst>
            <pc:docMk/>
            <pc:sldMk cId="2663922343" sldId="337"/>
            <ac:spMk id="5" creationId="{DC3D4F48-EF35-4172-A78A-C0FC95F07E3B}"/>
          </ac:spMkLst>
        </pc:spChg>
        <pc:spChg chg="add del mod modVis">
          <ac:chgData name="Chan, Joel (Allianz SE Singapore Branch)" userId="486d19b1-baff-43ec-8a47-06d94c11a22a" providerId="ADAL" clId="{79C35655-9945-47CC-AD84-C44BB0CFCD9E}" dt="2023-03-31T02:41:39.460" v="1961"/>
          <ac:spMkLst>
            <pc:docMk/>
            <pc:sldMk cId="2663922343" sldId="337"/>
            <ac:spMk id="7" creationId="{F1BDAD4C-23BB-43B7-8AD2-34100B7DEA38}"/>
          </ac:spMkLst>
        </pc:spChg>
        <pc:spChg chg="add del mod modVis">
          <ac:chgData name="Chan, Joel (Allianz SE Singapore Branch)" userId="486d19b1-baff-43ec-8a47-06d94c11a22a" providerId="ADAL" clId="{79C35655-9945-47CC-AD84-C44BB0CFCD9E}" dt="2023-03-31T02:41:41.763" v="2029"/>
          <ac:spMkLst>
            <pc:docMk/>
            <pc:sldMk cId="2663922343" sldId="337"/>
            <ac:spMk id="9" creationId="{5A49811F-6FD3-4653-985D-B700796D0801}"/>
          </ac:spMkLst>
        </pc:spChg>
        <pc:spChg chg="del">
          <ac:chgData name="Chan, Joel (Allianz SE Singapore Branch)" userId="486d19b1-baff-43ec-8a47-06d94c11a22a" providerId="ADAL" clId="{79C35655-9945-47CC-AD84-C44BB0CFCD9E}" dt="2023-03-31T02:41:45.051" v="2032" actId="478"/>
          <ac:spMkLst>
            <pc:docMk/>
            <pc:sldMk cId="2663922343" sldId="337"/>
            <ac:spMk id="57" creationId="{A5BDE74E-2DEE-4407-AB94-F47A2C240CAD}"/>
          </ac:spMkLst>
        </pc:spChg>
        <pc:grpChg chg="del">
          <ac:chgData name="Chan, Joel (Allianz SE Singapore Branch)" userId="486d19b1-baff-43ec-8a47-06d94c11a22a" providerId="ADAL" clId="{79C35655-9945-47CC-AD84-C44BB0CFCD9E}" dt="2023-03-31T02:41:45.051" v="2032" actId="478"/>
          <ac:grpSpMkLst>
            <pc:docMk/>
            <pc:sldMk cId="2663922343" sldId="337"/>
            <ac:grpSpMk id="54" creationId="{C72EC843-C3DF-401B-9EC7-0F6B38DDA4E8}"/>
          </ac:grpSpMkLst>
        </pc:grpChg>
        <pc:graphicFrameChg chg="add mod ord modVis replST">
          <ac:chgData name="Chan, Joel (Allianz SE Singapore Branch)" userId="486d19b1-baff-43ec-8a47-06d94c11a22a" providerId="ADAL" clId="{79C35655-9945-47CC-AD84-C44BB0CFCD9E}" dt="2023-03-31T02:41:41.765" v="2031"/>
          <ac:graphicFrameMkLst>
            <pc:docMk/>
            <pc:sldMk cId="2663922343" sldId="337"/>
            <ac:graphicFrameMk id="8" creationId="{2CED42C1-F697-4066-8C29-B94E30A6EC52}"/>
          </ac:graphicFrameMkLst>
        </pc:graphicFrameChg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1976356366" sldId="338"/>
        </pc:sldMkLst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3705117391" sldId="339"/>
        </pc:sldMkLst>
      </pc:sldChg>
      <pc:sldChg chg="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1258948974" sldId="340"/>
        </pc:sldMkLst>
      </pc:sldChg>
      <pc:sldChg chg="del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4093567813" sldId="341"/>
        </pc:sldMkLst>
      </pc:sldChg>
      <pc:sldChg chg="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2679527733" sldId="342"/>
        </pc:sldMkLst>
      </pc:sldChg>
      <pc:sldChg chg="ord">
        <pc:chgData name="Chan, Joel (Allianz SE Singapore Branch)" userId="486d19b1-baff-43ec-8a47-06d94c11a22a" providerId="ADAL" clId="{79C35655-9945-47CC-AD84-C44BB0CFCD9E}" dt="2023-03-30T15:12:39.316" v="21"/>
        <pc:sldMkLst>
          <pc:docMk/>
          <pc:sldMk cId="2550605438" sldId="343"/>
        </pc:sldMkLst>
      </pc:sldChg>
      <pc:sldChg chg="addSp delSp modSp mod">
        <pc:chgData name="Chan, Joel (Allianz SE Singapore Branch)" userId="486d19b1-baff-43ec-8a47-06d94c11a22a" providerId="ADAL" clId="{79C35655-9945-47CC-AD84-C44BB0CFCD9E}" dt="2023-03-31T02:40:21.603" v="1905" actId="478"/>
        <pc:sldMkLst>
          <pc:docMk/>
          <pc:sldMk cId="563796760" sldId="344"/>
        </pc:sldMkLst>
        <pc:spChg chg="add del mod modVis">
          <ac:chgData name="Chan, Joel (Allianz SE Singapore Branch)" userId="486d19b1-baff-43ec-8a47-06d94c11a22a" providerId="ADAL" clId="{79C35655-9945-47CC-AD84-C44BB0CFCD9E}" dt="2023-03-30T15:39:11.982" v="1363"/>
          <ac:spMkLst>
            <pc:docMk/>
            <pc:sldMk cId="563796760" sldId="344"/>
            <ac:spMk id="2" creationId="{6038B050-31CE-4B35-AA6A-2B0FBA265CAC}"/>
          </ac:spMkLst>
        </pc:spChg>
        <pc:spChg chg="mod">
          <ac:chgData name="Chan, Joel (Allianz SE Singapore Branch)" userId="486d19b1-baff-43ec-8a47-06d94c11a22a" providerId="ADAL" clId="{79C35655-9945-47CC-AD84-C44BB0CFCD9E}" dt="2023-03-30T15:39:11.749" v="1323" actId="948"/>
          <ac:spMkLst>
            <pc:docMk/>
            <pc:sldMk cId="563796760" sldId="344"/>
            <ac:spMk id="5" creationId="{0B3FFA01-208A-4221-A526-08D7C9637E7C}"/>
          </ac:spMkLst>
        </pc:spChg>
        <pc:spChg chg="del">
          <ac:chgData name="Chan, Joel (Allianz SE Singapore Branch)" userId="486d19b1-baff-43ec-8a47-06d94c11a22a" providerId="ADAL" clId="{79C35655-9945-47CC-AD84-C44BB0CFCD9E}" dt="2023-03-31T02:40:21.603" v="1905" actId="478"/>
          <ac:spMkLst>
            <pc:docMk/>
            <pc:sldMk cId="563796760" sldId="344"/>
            <ac:spMk id="10" creationId="{C6F7D0FA-5728-4FA5-A0F7-B361A95BC0D3}"/>
          </ac:spMkLst>
        </pc:spChg>
        <pc:graphicFrameChg chg="mod">
          <ac:chgData name="Chan, Joel (Allianz SE Singapore Branch)" userId="486d19b1-baff-43ec-8a47-06d94c11a22a" providerId="ADAL" clId="{79C35655-9945-47CC-AD84-C44BB0CFCD9E}" dt="2023-03-30T15:39:11.995" v="1365"/>
          <ac:graphicFrameMkLst>
            <pc:docMk/>
            <pc:sldMk cId="563796760" sldId="344"/>
            <ac:graphicFrameMk id="6" creationId="{C7BDA082-E299-4718-8BFC-E6986C3EFC7E}"/>
          </ac:graphicFrameMkLst>
        </pc:graphicFrameChg>
        <pc:graphicFrameChg chg="modGraphic">
          <ac:chgData name="Chan, Joel (Allianz SE Singapore Branch)" userId="486d19b1-baff-43ec-8a47-06d94c11a22a" providerId="ADAL" clId="{79C35655-9945-47CC-AD84-C44BB0CFCD9E}" dt="2023-03-31T02:11:34.928" v="1881" actId="14734"/>
          <ac:graphicFrameMkLst>
            <pc:docMk/>
            <pc:sldMk cId="563796760" sldId="344"/>
            <ac:graphicFrameMk id="264" creationId="{A86C8DDB-B295-411C-80F9-F1EFE9EC4FC1}"/>
          </ac:graphicFrameMkLst>
        </pc:graphicFrameChg>
      </pc:sldChg>
      <pc:sldChg chg="delSp modSp mod">
        <pc:chgData name="Chan, Joel (Allianz SE Singapore Branch)" userId="486d19b1-baff-43ec-8a47-06d94c11a22a" providerId="ADAL" clId="{79C35655-9945-47CC-AD84-C44BB0CFCD9E}" dt="2023-03-31T02:40:28.139" v="1906" actId="478"/>
        <pc:sldMkLst>
          <pc:docMk/>
          <pc:sldMk cId="1951216619" sldId="345"/>
        </pc:sldMkLst>
        <pc:spChg chg="del">
          <ac:chgData name="Chan, Joel (Allianz SE Singapore Branch)" userId="486d19b1-baff-43ec-8a47-06d94c11a22a" providerId="ADAL" clId="{79C35655-9945-47CC-AD84-C44BB0CFCD9E}" dt="2023-03-31T02:40:28.139" v="1906" actId="478"/>
          <ac:spMkLst>
            <pc:docMk/>
            <pc:sldMk cId="1951216619" sldId="345"/>
            <ac:spMk id="10" creationId="{C6F7D0FA-5728-4FA5-A0F7-B361A95BC0D3}"/>
          </ac:spMkLst>
        </pc:spChg>
        <pc:graphicFrameChg chg="modGraphic">
          <ac:chgData name="Chan, Joel (Allianz SE Singapore Branch)" userId="486d19b1-baff-43ec-8a47-06d94c11a22a" providerId="ADAL" clId="{79C35655-9945-47CC-AD84-C44BB0CFCD9E}" dt="2023-03-31T01:41:42.337" v="1865" actId="14734"/>
          <ac:graphicFrameMkLst>
            <pc:docMk/>
            <pc:sldMk cId="1951216619" sldId="345"/>
            <ac:graphicFrameMk id="264" creationId="{A86C8DDB-B295-411C-80F9-F1EFE9EC4FC1}"/>
          </ac:graphicFrameMkLst>
        </pc:graphicFrameChg>
      </pc:sldChg>
      <pc:sldChg chg="modSp del mod">
        <pc:chgData name="Chan, Joel (Allianz SE Singapore Branch)" userId="486d19b1-baff-43ec-8a47-06d94c11a22a" providerId="ADAL" clId="{79C35655-9945-47CC-AD84-C44BB0CFCD9E}" dt="2023-03-31T02:39:59.104" v="1902" actId="47"/>
        <pc:sldMkLst>
          <pc:docMk/>
          <pc:sldMk cId="3941537688" sldId="346"/>
        </pc:sldMkLst>
        <pc:spChg chg="mod">
          <ac:chgData name="Chan, Joel (Allianz SE Singapore Branch)" userId="486d19b1-baff-43ec-8a47-06d94c11a22a" providerId="ADAL" clId="{79C35655-9945-47CC-AD84-C44BB0CFCD9E}" dt="2023-03-30T15:30:30.275" v="1006" actId="20577"/>
          <ac:spMkLst>
            <pc:docMk/>
            <pc:sldMk cId="3941537688" sldId="346"/>
            <ac:spMk id="29" creationId="{C3D4C3F4-574E-452E-A420-BAAF269E0EEF}"/>
          </ac:spMkLst>
        </pc:spChg>
        <pc:graphicFrameChg chg="mod modGraphic">
          <ac:chgData name="Chan, Joel (Allianz SE Singapore Branch)" userId="486d19b1-baff-43ec-8a47-06d94c11a22a" providerId="ADAL" clId="{79C35655-9945-47CC-AD84-C44BB0CFCD9E}" dt="2023-03-31T01:41:59.101" v="1868" actId="20577"/>
          <ac:graphicFrameMkLst>
            <pc:docMk/>
            <pc:sldMk cId="3941537688" sldId="346"/>
            <ac:graphicFrameMk id="20" creationId="{49D53C52-A63D-4072-8862-98D5841FBB35}"/>
          </ac:graphicFrameMkLst>
        </pc:graphicFrameChg>
      </pc:sldChg>
      <pc:sldChg chg="add 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1535489099" sldId="347"/>
        </pc:sldMkLst>
      </pc:sldChg>
      <pc:sldChg chg="add 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3516615160" sldId="349"/>
        </pc:sldMkLst>
      </pc:sldChg>
      <pc:sldChg chg="modSp del mod">
        <pc:chgData name="Chan, Joel (Allianz SE Singapore Branch)" userId="486d19b1-baff-43ec-8a47-06d94c11a22a" providerId="ADAL" clId="{79C35655-9945-47CC-AD84-C44BB0CFCD9E}" dt="2023-03-31T02:40:00.604" v="1903" actId="47"/>
        <pc:sldMkLst>
          <pc:docMk/>
          <pc:sldMk cId="397916887" sldId="350"/>
        </pc:sldMkLst>
        <pc:spChg chg="mod">
          <ac:chgData name="Chan, Joel (Allianz SE Singapore Branch)" userId="486d19b1-baff-43ec-8a47-06d94c11a22a" providerId="ADAL" clId="{79C35655-9945-47CC-AD84-C44BB0CFCD9E}" dt="2023-03-30T15:31:28.237" v="1020" actId="6549"/>
          <ac:spMkLst>
            <pc:docMk/>
            <pc:sldMk cId="397916887" sldId="350"/>
            <ac:spMk id="12" creationId="{8AC9F114-3AA3-4B5A-90A1-F060C6B1E710}"/>
          </ac:spMkLst>
        </pc:spChg>
        <pc:graphicFrameChg chg="mod">
          <ac:chgData name="Chan, Joel (Allianz SE Singapore Branch)" userId="486d19b1-baff-43ec-8a47-06d94c11a22a" providerId="ADAL" clId="{79C35655-9945-47CC-AD84-C44BB0CFCD9E}" dt="2023-03-31T01:42:34.003" v="1874"/>
          <ac:graphicFrameMkLst>
            <pc:docMk/>
            <pc:sldMk cId="397916887" sldId="350"/>
            <ac:graphicFrameMk id="20" creationId="{49D53C52-A63D-4072-8862-98D5841FBB35}"/>
          </ac:graphicFrameMkLst>
        </pc:graphicFrameChg>
      </pc:sldChg>
      <pc:sldChg chg="del ord">
        <pc:chgData name="Chan, Joel (Allianz SE Singapore Branch)" userId="486d19b1-baff-43ec-8a47-06d94c11a22a" providerId="ADAL" clId="{79C35655-9945-47CC-AD84-C44BB0CFCD9E}" dt="2023-03-31T02:40:05.453" v="1904" actId="47"/>
        <pc:sldMkLst>
          <pc:docMk/>
          <pc:sldMk cId="2701756945" sldId="351"/>
        </pc:sldMkLst>
      </pc:sldChg>
      <pc:sldChg chg="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1252955623" sldId="352"/>
        </pc:sldMkLst>
      </pc:sldChg>
      <pc:sldChg chg="del ord">
        <pc:chgData name="Chan, Joel (Allianz SE Singapore Branch)" userId="486d19b1-baff-43ec-8a47-06d94c11a22a" providerId="ADAL" clId="{79C35655-9945-47CC-AD84-C44BB0CFCD9E}" dt="2023-03-30T15:40:16.695" v="1387" actId="47"/>
        <pc:sldMkLst>
          <pc:docMk/>
          <pc:sldMk cId="972665589" sldId="353"/>
        </pc:sldMkLst>
      </pc:sldChg>
      <pc:sldChg chg="addSp delSp modSp mod">
        <pc:chgData name="Chan, Joel (Allianz SE Singapore Branch)" userId="486d19b1-baff-43ec-8a47-06d94c11a22a" providerId="ADAL" clId="{79C35655-9945-47CC-AD84-C44BB0CFCD9E}" dt="2023-04-03T01:57:32.679" v="2755" actId="6549"/>
        <pc:sldMkLst>
          <pc:docMk/>
          <pc:sldMk cId="1896385211" sldId="354"/>
        </pc:sldMkLst>
        <pc:spChg chg="mod ord">
          <ac:chgData name="Chan, Joel (Allianz SE Singapore Branch)" userId="486d19b1-baff-43ec-8a47-06d94c11a22a" providerId="ADAL" clId="{79C35655-9945-47CC-AD84-C44BB0CFCD9E}" dt="2023-03-30T15:19:26.391" v="218"/>
          <ac:spMkLst>
            <pc:docMk/>
            <pc:sldMk cId="1896385211" sldId="354"/>
            <ac:spMk id="4" creationId="{E46D1414-1B46-4413-A871-41E6409A9FFB}"/>
          </ac:spMkLst>
        </pc:spChg>
        <pc:spChg chg="mod ord">
          <ac:chgData name="Chan, Joel (Allianz SE Singapore Branch)" userId="486d19b1-baff-43ec-8a47-06d94c11a22a" providerId="ADAL" clId="{79C35655-9945-47CC-AD84-C44BB0CFCD9E}" dt="2023-03-30T15:19:26.392" v="220"/>
          <ac:spMkLst>
            <pc:docMk/>
            <pc:sldMk cId="1896385211" sldId="354"/>
            <ac:spMk id="6" creationId="{D0EC27E0-C18B-4115-968D-4CCF2C2B6C12}"/>
          </ac:spMkLst>
        </pc:spChg>
        <pc:spChg chg="del mod ord">
          <ac:chgData name="Chan, Joel (Allianz SE Singapore Branch)" userId="486d19b1-baff-43ec-8a47-06d94c11a22a" providerId="ADAL" clId="{79C35655-9945-47CC-AD84-C44BB0CFCD9E}" dt="2023-03-31T02:40:51.829" v="1907" actId="478"/>
          <ac:spMkLst>
            <pc:docMk/>
            <pc:sldMk cId="1896385211" sldId="354"/>
            <ac:spMk id="9" creationId="{04035A73-03EB-4AAD-B67F-08A711353D1C}"/>
          </ac:spMkLst>
        </pc:spChg>
        <pc:spChg chg="del mod ord">
          <ac:chgData name="Chan, Joel (Allianz SE Singapore Branch)" userId="486d19b1-baff-43ec-8a47-06d94c11a22a" providerId="ADAL" clId="{79C35655-9945-47CC-AD84-C44BB0CFCD9E}" dt="2023-03-31T02:41:08.408" v="1909" actId="478"/>
          <ac:spMkLst>
            <pc:docMk/>
            <pc:sldMk cId="1896385211" sldId="354"/>
            <ac:spMk id="20" creationId="{C9C6B91A-6EEB-42A5-9135-D34EC50E74E3}"/>
          </ac:spMkLst>
        </pc:spChg>
        <pc:spChg chg="mod ord">
          <ac:chgData name="Chan, Joel (Allianz SE Singapore Branch)" userId="486d19b1-baff-43ec-8a47-06d94c11a22a" providerId="ADAL" clId="{79C35655-9945-47CC-AD84-C44BB0CFCD9E}" dt="2023-03-30T15:19:26.393" v="222"/>
          <ac:spMkLst>
            <pc:docMk/>
            <pc:sldMk cId="1896385211" sldId="354"/>
            <ac:spMk id="24" creationId="{6ACE946A-C690-470E-90BC-F681CFBF24D3}"/>
          </ac:spMkLst>
        </pc:spChg>
        <pc:spChg chg="mod ord">
          <ac:chgData name="Chan, Joel (Allianz SE Singapore Branch)" userId="486d19b1-baff-43ec-8a47-06d94c11a22a" providerId="ADAL" clId="{79C35655-9945-47CC-AD84-C44BB0CFCD9E}" dt="2023-03-30T15:34:49.580" v="1211" actId="6549"/>
          <ac:spMkLst>
            <pc:docMk/>
            <pc:sldMk cId="1896385211" sldId="354"/>
            <ac:spMk id="29" creationId="{C3D4C3F4-574E-452E-A420-BAAF269E0EEF}"/>
          </ac:spMkLst>
        </pc:spChg>
        <pc:spChg chg="del mod ord">
          <ac:chgData name="Chan, Joel (Allianz SE Singapore Branch)" userId="486d19b1-baff-43ec-8a47-06d94c11a22a" providerId="ADAL" clId="{79C35655-9945-47CC-AD84-C44BB0CFCD9E}" dt="2023-03-31T02:41:21.051" v="1910" actId="478"/>
          <ac:spMkLst>
            <pc:docMk/>
            <pc:sldMk cId="1896385211" sldId="354"/>
            <ac:spMk id="30" creationId="{3C0D5F2C-5910-41CF-8B92-CC90494A331D}"/>
          </ac:spMkLst>
        </pc:spChg>
        <pc:grpChg chg="mod ord">
          <ac:chgData name="Chan, Joel (Allianz SE Singapore Branch)" userId="486d19b1-baff-43ec-8a47-06d94c11a22a" providerId="ADAL" clId="{79C35655-9945-47CC-AD84-C44BB0CFCD9E}" dt="2023-03-30T15:19:26.394" v="224"/>
          <ac:grpSpMkLst>
            <pc:docMk/>
            <pc:sldMk cId="1896385211" sldId="354"/>
            <ac:grpSpMk id="25" creationId="{FBA2A8C7-633B-4B9F-814E-534AB8B33BB8}"/>
          </ac:grpSpMkLst>
        </pc:grpChg>
        <pc:grpChg chg="del mod ord">
          <ac:chgData name="Chan, Joel (Allianz SE Singapore Branch)" userId="486d19b1-baff-43ec-8a47-06d94c11a22a" providerId="ADAL" clId="{79C35655-9945-47CC-AD84-C44BB0CFCD9E}" dt="2023-03-31T02:40:51.829" v="1907" actId="478"/>
          <ac:grpSpMkLst>
            <pc:docMk/>
            <pc:sldMk cId="1896385211" sldId="354"/>
            <ac:grpSpMk id="33" creationId="{7562B530-5401-4134-8A72-A9DEBC55E800}"/>
          </ac:grpSpMkLst>
        </pc:grpChg>
        <pc:graphicFrameChg chg="add del">
          <ac:chgData name="Chan, Joel (Allianz SE Singapore Branch)" userId="486d19b1-baff-43ec-8a47-06d94c11a22a" providerId="ADAL" clId="{79C35655-9945-47CC-AD84-C44BB0CFCD9E}" dt="2023-03-30T15:13:53.443" v="25" actId="3680"/>
          <ac:graphicFrameMkLst>
            <pc:docMk/>
            <pc:sldMk cId="1896385211" sldId="354"/>
            <ac:graphicFrameMk id="2" creationId="{B16E4CC1-BA0D-4328-8137-71D376BB041A}"/>
          </ac:graphicFrameMkLst>
        </pc:graphicFrameChg>
        <pc:graphicFrameChg chg="add mod ord modGraphic">
          <ac:chgData name="Chan, Joel (Allianz SE Singapore Branch)" userId="486d19b1-baff-43ec-8a47-06d94c11a22a" providerId="ADAL" clId="{79C35655-9945-47CC-AD84-C44BB0CFCD9E}" dt="2023-03-31T01:34:45.370" v="1648"/>
          <ac:graphicFrameMkLst>
            <pc:docMk/>
            <pc:sldMk cId="1896385211" sldId="354"/>
            <ac:graphicFrameMk id="3" creationId="{D2A34D70-7085-4619-A9CD-D3681D5C851C}"/>
          </ac:graphicFrameMkLst>
        </pc:graphicFrameChg>
        <pc:graphicFrameChg chg="add mod ord modGraphic">
          <ac:chgData name="Chan, Joel (Allianz SE Singapore Branch)" userId="486d19b1-baff-43ec-8a47-06d94c11a22a" providerId="ADAL" clId="{79C35655-9945-47CC-AD84-C44BB0CFCD9E}" dt="2023-03-30T15:20:42.943" v="312" actId="1076"/>
          <ac:graphicFrameMkLst>
            <pc:docMk/>
            <pc:sldMk cId="1896385211" sldId="354"/>
            <ac:graphicFrameMk id="5" creationId="{6CA19C21-7779-493C-AFEB-C135DE489CA1}"/>
          </ac:graphicFrameMkLst>
        </pc:graphicFrameChg>
        <pc:graphicFrameChg chg="add mod ord modVis replST">
          <ac:chgData name="Chan, Joel (Allianz SE Singapore Branch)" userId="486d19b1-baff-43ec-8a47-06d94c11a22a" providerId="ADAL" clId="{79C35655-9945-47CC-AD84-C44BB0CFCD9E}" dt="2023-03-30T15:19:26.455" v="257"/>
          <ac:graphicFrameMkLst>
            <pc:docMk/>
            <pc:sldMk cId="1896385211" sldId="354"/>
            <ac:graphicFrameMk id="7" creationId="{927C15DE-9D30-45DF-87CE-DEA7422FCC3C}"/>
          </ac:graphicFrameMkLst>
        </pc:graphicFrameChg>
        <pc:graphicFrameChg chg="mod ord modGraphic">
          <ac:chgData name="Chan, Joel (Allianz SE Singapore Branch)" userId="486d19b1-baff-43ec-8a47-06d94c11a22a" providerId="ADAL" clId="{79C35655-9945-47CC-AD84-C44BB0CFCD9E}" dt="2023-04-03T01:57:32.679" v="2755" actId="6549"/>
          <ac:graphicFrameMkLst>
            <pc:docMk/>
            <pc:sldMk cId="1896385211" sldId="354"/>
            <ac:graphicFrameMk id="19" creationId="{B849A2D0-0E0C-4B57-8418-BA166A3CE887}"/>
          </ac:graphicFrameMkLst>
        </pc:graphicFrameChg>
        <pc:graphicFrameChg chg="add del mod">
          <ac:chgData name="Chan, Joel (Allianz SE Singapore Branch)" userId="486d19b1-baff-43ec-8a47-06d94c11a22a" providerId="ADAL" clId="{79C35655-9945-47CC-AD84-C44BB0CFCD9E}" dt="2023-03-30T15:18:30.023" v="168"/>
          <ac:graphicFrameMkLst>
            <pc:docMk/>
            <pc:sldMk cId="1896385211" sldId="354"/>
            <ac:graphicFrameMk id="21" creationId="{90282168-A5E6-40D7-8065-163AB4E338A1}"/>
          </ac:graphicFrameMkLst>
        </pc:graphicFrameChg>
      </pc:sldChg>
      <pc:sldChg chg="modSp del mod">
        <pc:chgData name="Chan, Joel (Allianz SE Singapore Branch)" userId="486d19b1-baff-43ec-8a47-06d94c11a22a" providerId="ADAL" clId="{79C35655-9945-47CC-AD84-C44BB0CFCD9E}" dt="2023-03-31T02:28:00.985" v="1901" actId="47"/>
        <pc:sldMkLst>
          <pc:docMk/>
          <pc:sldMk cId="2732042932" sldId="355"/>
        </pc:sldMkLst>
        <pc:graphicFrameChg chg="modGraphic">
          <ac:chgData name="Chan, Joel (Allianz SE Singapore Branch)" userId="486d19b1-baff-43ec-8a47-06d94c11a22a" providerId="ADAL" clId="{79C35655-9945-47CC-AD84-C44BB0CFCD9E}" dt="2023-03-30T15:12:26.004" v="19" actId="20577"/>
          <ac:graphicFrameMkLst>
            <pc:docMk/>
            <pc:sldMk cId="2732042932" sldId="355"/>
            <ac:graphicFrameMk id="2" creationId="{BBF4D77D-616A-42E5-BC41-F8C813A51499}"/>
          </ac:graphicFrameMkLst>
        </pc:graphicFrameChg>
      </pc:sldChg>
      <pc:sldChg chg="addSp delSp modSp add mod ord">
        <pc:chgData name="Chan, Joel (Allianz SE Singapore Branch)" userId="486d19b1-baff-43ec-8a47-06d94c11a22a" providerId="ADAL" clId="{79C35655-9945-47CC-AD84-C44BB0CFCD9E}" dt="2023-03-31T05:23:17.836" v="2613" actId="20577"/>
        <pc:sldMkLst>
          <pc:docMk/>
          <pc:sldMk cId="3810239924" sldId="356"/>
        </pc:sldMkLst>
        <pc:spChg chg="del">
          <ac:chgData name="Chan, Joel (Allianz SE Singapore Branch)" userId="486d19b1-baff-43ec-8a47-06d94c11a22a" providerId="ADAL" clId="{79C35655-9945-47CC-AD84-C44BB0CFCD9E}" dt="2023-03-31T02:42:12.145" v="2037" actId="478"/>
          <ac:spMkLst>
            <pc:docMk/>
            <pc:sldMk cId="3810239924" sldId="356"/>
            <ac:spMk id="9" creationId="{04035A73-03EB-4AAD-B67F-08A711353D1C}"/>
          </ac:spMkLst>
        </pc:spChg>
        <pc:spChg chg="add mod">
          <ac:chgData name="Chan, Joel (Allianz SE Singapore Branch)" userId="486d19b1-baff-43ec-8a47-06d94c11a22a" providerId="ADAL" clId="{79C35655-9945-47CC-AD84-C44BB0CFCD9E}" dt="2023-03-31T05:23:02.826" v="2568" actId="20577"/>
          <ac:spMkLst>
            <pc:docMk/>
            <pc:sldMk cId="3810239924" sldId="356"/>
            <ac:spMk id="20" creationId="{8D889B7D-C6D4-4D3D-BE40-528C87E98942}"/>
          </ac:spMkLst>
        </pc:spChg>
        <pc:spChg chg="add mod">
          <ac:chgData name="Chan, Joel (Allianz SE Singapore Branch)" userId="486d19b1-baff-43ec-8a47-06d94c11a22a" providerId="ADAL" clId="{79C35655-9945-47CC-AD84-C44BB0CFCD9E}" dt="2023-03-31T05:23:17.836" v="2613" actId="20577"/>
          <ac:spMkLst>
            <pc:docMk/>
            <pc:sldMk cId="3810239924" sldId="356"/>
            <ac:spMk id="22" creationId="{D3C1FE6E-651C-41E6-A387-42E1BDCD1DC0}"/>
          </ac:spMkLst>
        </pc:spChg>
        <pc:spChg chg="add mod">
          <ac:chgData name="Chan, Joel (Allianz SE Singapore Branch)" userId="486d19b1-baff-43ec-8a47-06d94c11a22a" providerId="ADAL" clId="{79C35655-9945-47CC-AD84-C44BB0CFCD9E}" dt="2023-03-31T05:22:54.147" v="2545"/>
          <ac:spMkLst>
            <pc:docMk/>
            <pc:sldMk cId="3810239924" sldId="356"/>
            <ac:spMk id="23" creationId="{E4C58DE7-3605-40DC-8A88-59917E1E803F}"/>
          </ac:spMkLst>
        </pc:spChg>
        <pc:spChg chg="mod">
          <ac:chgData name="Chan, Joel (Allianz SE Singapore Branch)" userId="486d19b1-baff-43ec-8a47-06d94c11a22a" providerId="ADAL" clId="{79C35655-9945-47CC-AD84-C44BB0CFCD9E}" dt="2023-03-30T15:21:55.360" v="334" actId="20577"/>
          <ac:spMkLst>
            <pc:docMk/>
            <pc:sldMk cId="3810239924" sldId="356"/>
            <ac:spMk id="29" creationId="{C3D4C3F4-574E-452E-A420-BAAF269E0EEF}"/>
          </ac:spMkLst>
        </pc:spChg>
        <pc:spChg chg="del">
          <ac:chgData name="Chan, Joel (Allianz SE Singapore Branch)" userId="486d19b1-baff-43ec-8a47-06d94c11a22a" providerId="ADAL" clId="{79C35655-9945-47CC-AD84-C44BB0CFCD9E}" dt="2023-03-31T02:42:09.986" v="2036" actId="478"/>
          <ac:spMkLst>
            <pc:docMk/>
            <pc:sldMk cId="3810239924" sldId="356"/>
            <ac:spMk id="30" creationId="{3C0D5F2C-5910-41CF-8B92-CC90494A331D}"/>
          </ac:spMkLst>
        </pc:spChg>
        <pc:grpChg chg="del">
          <ac:chgData name="Chan, Joel (Allianz SE Singapore Branch)" userId="486d19b1-baff-43ec-8a47-06d94c11a22a" providerId="ADAL" clId="{79C35655-9945-47CC-AD84-C44BB0CFCD9E}" dt="2023-03-31T02:42:12.145" v="2037" actId="478"/>
          <ac:grpSpMkLst>
            <pc:docMk/>
            <pc:sldMk cId="3810239924" sldId="356"/>
            <ac:grpSpMk id="33" creationId="{7562B530-5401-4134-8A72-A9DEBC55E800}"/>
          </ac:grpSpMkLst>
        </pc:grpChg>
        <pc:graphicFrameChg chg="del">
          <ac:chgData name="Chan, Joel (Allianz SE Singapore Branch)" userId="486d19b1-baff-43ec-8a47-06d94c11a22a" providerId="ADAL" clId="{79C35655-9945-47CC-AD84-C44BB0CFCD9E}" dt="2023-03-31T02:42:14.039" v="2038" actId="478"/>
          <ac:graphicFrameMkLst>
            <pc:docMk/>
            <pc:sldMk cId="3810239924" sldId="356"/>
            <ac:graphicFrameMk id="18" creationId="{F26A6364-88D1-43E1-AEDE-600D379E4363}"/>
          </ac:graphicFrameMkLst>
        </pc:graphicFrameChg>
        <pc:graphicFrameChg chg="mod modGraphic">
          <ac:chgData name="Chan, Joel (Allianz SE Singapore Branch)" userId="486d19b1-baff-43ec-8a47-06d94c11a22a" providerId="ADAL" clId="{79C35655-9945-47CC-AD84-C44BB0CFCD9E}" dt="2023-03-30T15:24:25.650" v="521" actId="1076"/>
          <ac:graphicFrameMkLst>
            <pc:docMk/>
            <pc:sldMk cId="3810239924" sldId="356"/>
            <ac:graphicFrameMk id="19" creationId="{B849A2D0-0E0C-4B57-8418-BA166A3CE887}"/>
          </ac:graphicFrameMkLst>
        </pc:graphicFrameChg>
        <pc:picChg chg="del">
          <ac:chgData name="Chan, Joel (Allianz SE Singapore Branch)" userId="486d19b1-baff-43ec-8a47-06d94c11a22a" providerId="ADAL" clId="{79C35655-9945-47CC-AD84-C44BB0CFCD9E}" dt="2023-03-30T15:21:58.575" v="335" actId="478"/>
          <ac:picMkLst>
            <pc:docMk/>
            <pc:sldMk cId="3810239924" sldId="356"/>
            <ac:picMk id="21" creationId="{27DB6809-D51A-4E75-B878-FFBBF745A3FF}"/>
          </ac:picMkLst>
        </pc:picChg>
      </pc:sldChg>
      <pc:sldChg chg="addSp delSp modSp add mod">
        <pc:chgData name="Chan, Joel (Allianz SE Singapore Branch)" userId="486d19b1-baff-43ec-8a47-06d94c11a22a" providerId="ADAL" clId="{79C35655-9945-47CC-AD84-C44BB0CFCD9E}" dt="2023-03-31T05:32:49.238" v="2731" actId="5793"/>
        <pc:sldMkLst>
          <pc:docMk/>
          <pc:sldMk cId="2970266822" sldId="357"/>
        </pc:sldMkLst>
        <pc:spChg chg="add mod">
          <ac:chgData name="Chan, Joel (Allianz SE Singapore Branch)" userId="486d19b1-baff-43ec-8a47-06d94c11a22a" providerId="ADAL" clId="{79C35655-9945-47CC-AD84-C44BB0CFCD9E}" dt="2023-03-30T15:27:50.593" v="838" actId="20577"/>
          <ac:spMkLst>
            <pc:docMk/>
            <pc:sldMk cId="2970266822" sldId="357"/>
            <ac:spMk id="2" creationId="{60B9CE38-DE47-44B3-8E4D-DB889BC941E2}"/>
          </ac:spMkLst>
        </pc:spChg>
        <pc:spChg chg="del">
          <ac:chgData name="Chan, Joel (Allianz SE Singapore Branch)" userId="486d19b1-baff-43ec-8a47-06d94c11a22a" providerId="ADAL" clId="{79C35655-9945-47CC-AD84-C44BB0CFCD9E}" dt="2023-03-31T02:42:29.946" v="2039" actId="478"/>
          <ac:spMkLst>
            <pc:docMk/>
            <pc:sldMk cId="2970266822" sldId="357"/>
            <ac:spMk id="9" creationId="{04035A73-03EB-4AAD-B67F-08A711353D1C}"/>
          </ac:spMkLst>
        </pc:spChg>
        <pc:spChg chg="add mod">
          <ac:chgData name="Chan, Joel (Allianz SE Singapore Branch)" userId="486d19b1-baff-43ec-8a47-06d94c11a22a" providerId="ADAL" clId="{79C35655-9945-47CC-AD84-C44BB0CFCD9E}" dt="2023-03-30T15:28:16.701" v="886" actId="6549"/>
          <ac:spMkLst>
            <pc:docMk/>
            <pc:sldMk cId="2970266822" sldId="357"/>
            <ac:spMk id="20" creationId="{07DEB561-0AF1-4570-93B2-44EA31806D28}"/>
          </ac:spMkLst>
        </pc:spChg>
        <pc:spChg chg="add mod">
          <ac:chgData name="Chan, Joel (Allianz SE Singapore Branch)" userId="486d19b1-baff-43ec-8a47-06d94c11a22a" providerId="ADAL" clId="{79C35655-9945-47CC-AD84-C44BB0CFCD9E}" dt="2023-03-31T05:24:43.758" v="2651" actId="20577"/>
          <ac:spMkLst>
            <pc:docMk/>
            <pc:sldMk cId="2970266822" sldId="357"/>
            <ac:spMk id="21" creationId="{9209EF8E-2DDD-4AD5-A388-A276B1F8E8B7}"/>
          </ac:spMkLst>
        </pc:spChg>
        <pc:spChg chg="mod">
          <ac:chgData name="Chan, Joel (Allianz SE Singapore Branch)" userId="486d19b1-baff-43ec-8a47-06d94c11a22a" providerId="ADAL" clId="{79C35655-9945-47CC-AD84-C44BB0CFCD9E}" dt="2023-03-30T15:24:39.949" v="549" actId="20577"/>
          <ac:spMkLst>
            <pc:docMk/>
            <pc:sldMk cId="2970266822" sldId="357"/>
            <ac:spMk id="29" creationId="{C3D4C3F4-574E-452E-A420-BAAF269E0EEF}"/>
          </ac:spMkLst>
        </pc:spChg>
        <pc:spChg chg="del">
          <ac:chgData name="Chan, Joel (Allianz SE Singapore Branch)" userId="486d19b1-baff-43ec-8a47-06d94c11a22a" providerId="ADAL" clId="{79C35655-9945-47CC-AD84-C44BB0CFCD9E}" dt="2023-03-31T02:42:02.556" v="2035" actId="478"/>
          <ac:spMkLst>
            <pc:docMk/>
            <pc:sldMk cId="2970266822" sldId="357"/>
            <ac:spMk id="30" creationId="{3C0D5F2C-5910-41CF-8B92-CC90494A331D}"/>
          </ac:spMkLst>
        </pc:spChg>
        <pc:grpChg chg="del">
          <ac:chgData name="Chan, Joel (Allianz SE Singapore Branch)" userId="486d19b1-baff-43ec-8a47-06d94c11a22a" providerId="ADAL" clId="{79C35655-9945-47CC-AD84-C44BB0CFCD9E}" dt="2023-03-31T02:42:29.946" v="2039" actId="478"/>
          <ac:grpSpMkLst>
            <pc:docMk/>
            <pc:sldMk cId="2970266822" sldId="357"/>
            <ac:grpSpMk id="33" creationId="{7562B530-5401-4134-8A72-A9DEBC55E800}"/>
          </ac:grpSpMkLst>
        </pc:grpChg>
        <pc:graphicFrameChg chg="del">
          <ac:chgData name="Chan, Joel (Allianz SE Singapore Branch)" userId="486d19b1-baff-43ec-8a47-06d94c11a22a" providerId="ADAL" clId="{79C35655-9945-47CC-AD84-C44BB0CFCD9E}" dt="2023-03-31T02:42:31.706" v="2040" actId="478"/>
          <ac:graphicFrameMkLst>
            <pc:docMk/>
            <pc:sldMk cId="2970266822" sldId="357"/>
            <ac:graphicFrameMk id="18" creationId="{F26A6364-88D1-43E1-AEDE-600D379E4363}"/>
          </ac:graphicFrameMkLst>
        </pc:graphicFrameChg>
        <pc:graphicFrameChg chg="modGraphic">
          <ac:chgData name="Chan, Joel (Allianz SE Singapore Branch)" userId="486d19b1-baff-43ec-8a47-06d94c11a22a" providerId="ADAL" clId="{79C35655-9945-47CC-AD84-C44BB0CFCD9E}" dt="2023-03-31T05:32:49.238" v="2731" actId="5793"/>
          <ac:graphicFrameMkLst>
            <pc:docMk/>
            <pc:sldMk cId="2970266822" sldId="357"/>
            <ac:graphicFrameMk id="19" creationId="{B849A2D0-0E0C-4B57-8418-BA166A3CE887}"/>
          </ac:graphicFrameMkLst>
        </pc:graphicFrameChg>
      </pc:sldChg>
      <pc:sldChg chg="modSp add del mod ord modTransition modShow">
        <pc:chgData name="Chan, Joel (Allianz SE Singapore Branch)" userId="486d19b1-baff-43ec-8a47-06d94c11a22a" providerId="ADAL" clId="{79C35655-9945-47CC-AD84-C44BB0CFCD9E}" dt="2023-04-03T02:00:46.970" v="2785" actId="47"/>
        <pc:sldMkLst>
          <pc:docMk/>
          <pc:sldMk cId="2103545311" sldId="358"/>
        </pc:sldMkLst>
        <pc:spChg chg="mod">
          <ac:chgData name="Chan, Joel (Allianz SE Singapore Branch)" userId="486d19b1-baff-43ec-8a47-06d94c11a22a" providerId="ADAL" clId="{79C35655-9945-47CC-AD84-C44BB0CFCD9E}" dt="2023-03-30T15:29:09.870" v="936" actId="20577"/>
          <ac:spMkLst>
            <pc:docMk/>
            <pc:sldMk cId="2103545311" sldId="358"/>
            <ac:spMk id="12" creationId="{8AC9F114-3AA3-4B5A-90A1-F060C6B1E710}"/>
          </ac:spMkLst>
        </pc:spChg>
      </pc:sldChg>
      <pc:sldChg chg="modSp add del mod">
        <pc:chgData name="Chan, Joel (Allianz SE Singapore Branch)" userId="486d19b1-baff-43ec-8a47-06d94c11a22a" providerId="ADAL" clId="{79C35655-9945-47CC-AD84-C44BB0CFCD9E}" dt="2023-03-31T01:42:27.446" v="1872" actId="47"/>
        <pc:sldMkLst>
          <pc:docMk/>
          <pc:sldMk cId="1681680309" sldId="359"/>
        </pc:sldMkLst>
        <pc:spChg chg="mod">
          <ac:chgData name="Chan, Joel (Allianz SE Singapore Branch)" userId="486d19b1-baff-43ec-8a47-06d94c11a22a" providerId="ADAL" clId="{79C35655-9945-47CC-AD84-C44BB0CFCD9E}" dt="2023-03-31T01:42:23.332" v="1871" actId="20577"/>
          <ac:spMkLst>
            <pc:docMk/>
            <pc:sldMk cId="1681680309" sldId="359"/>
            <ac:spMk id="29" creationId="{C3D4C3F4-574E-452E-A420-BAAF269E0EEF}"/>
          </ac:spMkLst>
        </pc:spChg>
        <pc:graphicFrameChg chg="mod">
          <ac:chgData name="Chan, Joel (Allianz SE Singapore Branch)" userId="486d19b1-baff-43ec-8a47-06d94c11a22a" providerId="ADAL" clId="{79C35655-9945-47CC-AD84-C44BB0CFCD9E}" dt="2023-03-31T01:42:15.702" v="1870"/>
          <ac:graphicFrameMkLst>
            <pc:docMk/>
            <pc:sldMk cId="1681680309" sldId="359"/>
            <ac:graphicFrameMk id="20" creationId="{49D53C52-A63D-4072-8862-98D5841FBB35}"/>
          </ac:graphicFrameMkLst>
        </pc:graphicFrameChg>
      </pc:sldChg>
      <pc:sldChg chg="add del ord">
        <pc:chgData name="Chan, Joel (Allianz SE Singapore Branch)" userId="486d19b1-baff-43ec-8a47-06d94c11a22a" providerId="ADAL" clId="{79C35655-9945-47CC-AD84-C44BB0CFCD9E}" dt="2023-03-31T02:20:06.305" v="1882" actId="47"/>
        <pc:sldMkLst>
          <pc:docMk/>
          <pc:sldMk cId="1634875497" sldId="360"/>
        </pc:sldMkLst>
      </pc:sldChg>
      <pc:sldChg chg="addSp delSp modSp add mod ord">
        <pc:chgData name="Chan, Joel (Allianz SE Singapore Branch)" userId="486d19b1-baff-43ec-8a47-06d94c11a22a" providerId="ADAL" clId="{79C35655-9945-47CC-AD84-C44BB0CFCD9E}" dt="2023-03-31T02:59:05.445" v="2439" actId="20577"/>
        <pc:sldMkLst>
          <pc:docMk/>
          <pc:sldMk cId="2307193711" sldId="361"/>
        </pc:sldMkLst>
        <pc:spChg chg="del">
          <ac:chgData name="Chan, Joel (Allianz SE Singapore Branch)" userId="486d19b1-baff-43ec-8a47-06d94c11a22a" providerId="ADAL" clId="{79C35655-9945-47CC-AD84-C44BB0CFCD9E}" dt="2023-03-30T15:32:29.754" v="1050" actId="478"/>
          <ac:spMkLst>
            <pc:docMk/>
            <pc:sldMk cId="2307193711" sldId="361"/>
            <ac:spMk id="7" creationId="{3E438D7E-9CB2-1A2A-3437-9218726B35E9}"/>
          </ac:spMkLst>
        </pc:spChg>
        <pc:spChg chg="del">
          <ac:chgData name="Chan, Joel (Allianz SE Singapore Branch)" userId="486d19b1-baff-43ec-8a47-06d94c11a22a" providerId="ADAL" clId="{79C35655-9945-47CC-AD84-C44BB0CFCD9E}" dt="2023-03-30T15:32:29.754" v="1050" actId="478"/>
          <ac:spMkLst>
            <pc:docMk/>
            <pc:sldMk cId="2307193711" sldId="361"/>
            <ac:spMk id="8" creationId="{96F637A0-49B1-6871-EE51-C527F536E083}"/>
          </ac:spMkLst>
        </pc:spChg>
        <pc:spChg chg="del">
          <ac:chgData name="Chan, Joel (Allianz SE Singapore Branch)" userId="486d19b1-baff-43ec-8a47-06d94c11a22a" providerId="ADAL" clId="{79C35655-9945-47CC-AD84-C44BB0CFCD9E}" dt="2023-03-31T02:40:55.501" v="1908" actId="478"/>
          <ac:spMkLst>
            <pc:docMk/>
            <pc:sldMk cId="2307193711" sldId="361"/>
            <ac:spMk id="9" creationId="{04035A73-03EB-4AAD-B67F-08A711353D1C}"/>
          </ac:spMkLst>
        </pc:spChg>
        <pc:spChg chg="del">
          <ac:chgData name="Chan, Joel (Allianz SE Singapore Branch)" userId="486d19b1-baff-43ec-8a47-06d94c11a22a" providerId="ADAL" clId="{79C35655-9945-47CC-AD84-C44BB0CFCD9E}" dt="2023-03-30T15:32:29.754" v="1050" actId="478"/>
          <ac:spMkLst>
            <pc:docMk/>
            <pc:sldMk cId="2307193711" sldId="361"/>
            <ac:spMk id="10" creationId="{D6E48EEE-B2E3-7E57-DF9A-3EA976CD732E}"/>
          </ac:spMkLst>
        </pc:spChg>
        <pc:spChg chg="del">
          <ac:chgData name="Chan, Joel (Allianz SE Singapore Branch)" userId="486d19b1-baff-43ec-8a47-06d94c11a22a" providerId="ADAL" clId="{79C35655-9945-47CC-AD84-C44BB0CFCD9E}" dt="2023-03-30T15:32:29.754" v="1050" actId="478"/>
          <ac:spMkLst>
            <pc:docMk/>
            <pc:sldMk cId="2307193711" sldId="361"/>
            <ac:spMk id="11" creationId="{20833747-96EE-1008-93A5-E796B029AC7B}"/>
          </ac:spMkLst>
        </pc:spChg>
        <pc:spChg chg="add mod">
          <ac:chgData name="Chan, Joel (Allianz SE Singapore Branch)" userId="486d19b1-baff-43ec-8a47-06d94c11a22a" providerId="ADAL" clId="{79C35655-9945-47CC-AD84-C44BB0CFCD9E}" dt="2023-03-31T02:59:05.445" v="2439" actId="20577"/>
          <ac:spMkLst>
            <pc:docMk/>
            <pc:sldMk cId="2307193711" sldId="361"/>
            <ac:spMk id="15" creationId="{F49AAA7C-E8A1-444D-8214-E283AD1939F6}"/>
          </ac:spMkLst>
        </pc:spChg>
        <pc:spChg chg="mod">
          <ac:chgData name="Chan, Joel (Allianz SE Singapore Branch)" userId="486d19b1-baff-43ec-8a47-06d94c11a22a" providerId="ADAL" clId="{79C35655-9945-47CC-AD84-C44BB0CFCD9E}" dt="2023-03-31T01:40:06.786" v="1780" actId="20577"/>
          <ac:spMkLst>
            <pc:docMk/>
            <pc:sldMk cId="2307193711" sldId="361"/>
            <ac:spMk id="29" creationId="{C3D4C3F4-574E-452E-A420-BAAF269E0EEF}"/>
          </ac:spMkLst>
        </pc:spChg>
        <pc:grpChg chg="del">
          <ac:chgData name="Chan, Joel (Allianz SE Singapore Branch)" userId="486d19b1-baff-43ec-8a47-06d94c11a22a" providerId="ADAL" clId="{79C35655-9945-47CC-AD84-C44BB0CFCD9E}" dt="2023-03-31T02:40:55.501" v="1908" actId="478"/>
          <ac:grpSpMkLst>
            <pc:docMk/>
            <pc:sldMk cId="2307193711" sldId="361"/>
            <ac:grpSpMk id="33" creationId="{7562B530-5401-4134-8A72-A9DEBC55E800}"/>
          </ac:grpSpMkLst>
        </pc:grpChg>
        <pc:graphicFrameChg chg="mod modGraphic">
          <ac:chgData name="Chan, Joel (Allianz SE Singapore Branch)" userId="486d19b1-baff-43ec-8a47-06d94c11a22a" providerId="ADAL" clId="{79C35655-9945-47CC-AD84-C44BB0CFCD9E}" dt="2023-03-31T01:41:34.448" v="1864" actId="2711"/>
          <ac:graphicFrameMkLst>
            <pc:docMk/>
            <pc:sldMk cId="2307193711" sldId="361"/>
            <ac:graphicFrameMk id="20" creationId="{49D53C52-A63D-4072-8862-98D5841FBB35}"/>
          </ac:graphicFrameMkLst>
        </pc:graphicFrameChg>
        <pc:picChg chg="del">
          <ac:chgData name="Chan, Joel (Allianz SE Singapore Branch)" userId="486d19b1-baff-43ec-8a47-06d94c11a22a" providerId="ADAL" clId="{79C35655-9945-47CC-AD84-C44BB0CFCD9E}" dt="2023-03-30T15:32:27.590" v="1049" actId="478"/>
          <ac:picMkLst>
            <pc:docMk/>
            <pc:sldMk cId="2307193711" sldId="361"/>
            <ac:picMk id="3" creationId="{7ECE6689-28A8-B9C6-9214-6F3C6AB08E78}"/>
          </ac:picMkLst>
        </pc:picChg>
      </pc:sldChg>
      <pc:sldChg chg="new add del">
        <pc:chgData name="Chan, Joel (Allianz SE Singapore Branch)" userId="486d19b1-baff-43ec-8a47-06d94c11a22a" providerId="ADAL" clId="{79C35655-9945-47CC-AD84-C44BB0CFCD9E}" dt="2023-03-30T15:35:26.660" v="1216" actId="680"/>
        <pc:sldMkLst>
          <pc:docMk/>
          <pc:sldMk cId="512264778" sldId="362"/>
        </pc:sldMkLst>
      </pc:sldChg>
      <pc:sldChg chg="addSp delSp modSp add mod ord">
        <pc:chgData name="Chan, Joel (Allianz SE Singapore Branch)" userId="486d19b1-baff-43ec-8a47-06d94c11a22a" providerId="ADAL" clId="{79C35655-9945-47CC-AD84-C44BB0CFCD9E}" dt="2023-03-31T05:37:29.675" v="2754" actId="20577"/>
        <pc:sldMkLst>
          <pc:docMk/>
          <pc:sldMk cId="3364414887" sldId="362"/>
        </pc:sldMkLst>
        <pc:spChg chg="del">
          <ac:chgData name="Chan, Joel (Allianz SE Singapore Branch)" userId="486d19b1-baff-43ec-8a47-06d94c11a22a" providerId="ADAL" clId="{79C35655-9945-47CC-AD84-C44BB0CFCD9E}" dt="2023-03-30T15:36:30.301" v="1247" actId="478"/>
          <ac:spMkLst>
            <pc:docMk/>
            <pc:sldMk cId="3364414887" sldId="362"/>
            <ac:spMk id="9" creationId="{04035A73-03EB-4AAD-B67F-08A711353D1C}"/>
          </ac:spMkLst>
        </pc:spChg>
        <pc:spChg chg="del">
          <ac:chgData name="Chan, Joel (Allianz SE Singapore Branch)" userId="486d19b1-baff-43ec-8a47-06d94c11a22a" providerId="ADAL" clId="{79C35655-9945-47CC-AD84-C44BB0CFCD9E}" dt="2023-03-30T15:36:06.496" v="1243" actId="478"/>
          <ac:spMkLst>
            <pc:docMk/>
            <pc:sldMk cId="3364414887" sldId="362"/>
            <ac:spMk id="24" creationId="{6ACE946A-C690-470E-90BC-F681CFBF24D3}"/>
          </ac:spMkLst>
        </pc:spChg>
        <pc:spChg chg="mod">
          <ac:chgData name="Chan, Joel (Allianz SE Singapore Branch)" userId="486d19b1-baff-43ec-8a47-06d94c11a22a" providerId="ADAL" clId="{79C35655-9945-47CC-AD84-C44BB0CFCD9E}" dt="2023-03-30T15:41:07.367" v="1411" actId="20577"/>
          <ac:spMkLst>
            <pc:docMk/>
            <pc:sldMk cId="3364414887" sldId="362"/>
            <ac:spMk id="29" creationId="{C3D4C3F4-574E-452E-A420-BAAF269E0EEF}"/>
          </ac:spMkLst>
        </pc:spChg>
        <pc:spChg chg="del">
          <ac:chgData name="Chan, Joel (Allianz SE Singapore Branch)" userId="486d19b1-baff-43ec-8a47-06d94c11a22a" providerId="ADAL" clId="{79C35655-9945-47CC-AD84-C44BB0CFCD9E}" dt="2023-03-31T02:43:00.982" v="2044" actId="478"/>
          <ac:spMkLst>
            <pc:docMk/>
            <pc:sldMk cId="3364414887" sldId="362"/>
            <ac:spMk id="30" creationId="{3C0D5F2C-5910-41CF-8B92-CC90494A331D}"/>
          </ac:spMkLst>
        </pc:spChg>
        <pc:grpChg chg="del">
          <ac:chgData name="Chan, Joel (Allianz SE Singapore Branch)" userId="486d19b1-baff-43ec-8a47-06d94c11a22a" providerId="ADAL" clId="{79C35655-9945-47CC-AD84-C44BB0CFCD9E}" dt="2023-03-31T02:42:59.410" v="2043" actId="478"/>
          <ac:grpSpMkLst>
            <pc:docMk/>
            <pc:sldMk cId="3364414887" sldId="362"/>
            <ac:grpSpMk id="25" creationId="{FBA2A8C7-633B-4B9F-814E-534AB8B33BB8}"/>
          </ac:grpSpMkLst>
        </pc:grpChg>
        <pc:grpChg chg="del">
          <ac:chgData name="Chan, Joel (Allianz SE Singapore Branch)" userId="486d19b1-baff-43ec-8a47-06d94c11a22a" providerId="ADAL" clId="{79C35655-9945-47CC-AD84-C44BB0CFCD9E}" dt="2023-03-30T15:36:30.301" v="1247" actId="478"/>
          <ac:grpSpMkLst>
            <pc:docMk/>
            <pc:sldMk cId="3364414887" sldId="362"/>
            <ac:grpSpMk id="33" creationId="{7562B530-5401-4134-8A72-A9DEBC55E800}"/>
          </ac:grpSpMkLst>
        </pc:grpChg>
        <pc:graphicFrameChg chg="add mod modGraphic">
          <ac:chgData name="Chan, Joel (Allianz SE Singapore Branch)" userId="486d19b1-baff-43ec-8a47-06d94c11a22a" providerId="ADAL" clId="{79C35655-9945-47CC-AD84-C44BB0CFCD9E}" dt="2023-03-31T05:37:29.675" v="2754" actId="20577"/>
          <ac:graphicFrameMkLst>
            <pc:docMk/>
            <pc:sldMk cId="3364414887" sldId="362"/>
            <ac:graphicFrameMk id="2" creationId="{1AE20538-F346-4696-8BAE-CAAD47D2E370}"/>
          </ac:graphicFrameMkLst>
        </pc:graphicFrameChg>
        <pc:graphicFrameChg chg="add del mod modGraphic">
          <ac:chgData name="Chan, Joel (Allianz SE Singapore Branch)" userId="486d19b1-baff-43ec-8a47-06d94c11a22a" providerId="ADAL" clId="{79C35655-9945-47CC-AD84-C44BB0CFCD9E}" dt="2023-03-31T02:52:18.461" v="2387" actId="478"/>
          <ac:graphicFrameMkLst>
            <pc:docMk/>
            <pc:sldMk cId="3364414887" sldId="362"/>
            <ac:graphicFrameMk id="17" creationId="{DCA63F12-AAC6-48ED-8A70-681016EBCF71}"/>
          </ac:graphicFrameMkLst>
        </pc:graphicFrameChg>
        <pc:graphicFrameChg chg="del">
          <ac:chgData name="Chan, Joel (Allianz SE Singapore Branch)" userId="486d19b1-baff-43ec-8a47-06d94c11a22a" providerId="ADAL" clId="{79C35655-9945-47CC-AD84-C44BB0CFCD9E}" dt="2023-03-30T15:36:22.376" v="1245" actId="478"/>
          <ac:graphicFrameMkLst>
            <pc:docMk/>
            <pc:sldMk cId="3364414887" sldId="362"/>
            <ac:graphicFrameMk id="18" creationId="{F26A6364-88D1-43E1-AEDE-600D379E4363}"/>
          </ac:graphicFrameMkLst>
        </pc:graphicFrameChg>
        <pc:graphicFrameChg chg="del">
          <ac:chgData name="Chan, Joel (Allianz SE Singapore Branch)" userId="486d19b1-baff-43ec-8a47-06d94c11a22a" providerId="ADAL" clId="{79C35655-9945-47CC-AD84-C44BB0CFCD9E}" dt="2023-03-30T15:36:26.057" v="1246" actId="478"/>
          <ac:graphicFrameMkLst>
            <pc:docMk/>
            <pc:sldMk cId="3364414887" sldId="362"/>
            <ac:graphicFrameMk id="19" creationId="{B849A2D0-0E0C-4B57-8418-BA166A3CE887}"/>
          </ac:graphicFrameMkLst>
        </pc:graphicFrameChg>
      </pc:sldChg>
      <pc:sldChg chg="add del">
        <pc:chgData name="Chan, Joel (Allianz SE Singapore Branch)" userId="486d19b1-baff-43ec-8a47-06d94c11a22a" providerId="ADAL" clId="{79C35655-9945-47CC-AD84-C44BB0CFCD9E}" dt="2023-03-30T15:35:39.514" v="1219"/>
        <pc:sldMkLst>
          <pc:docMk/>
          <pc:sldMk cId="794712475" sldId="363"/>
        </pc:sldMkLst>
      </pc:sldChg>
      <pc:sldChg chg="addSp delSp modSp add mod">
        <pc:chgData name="Chan, Joel (Allianz SE Singapore Branch)" userId="486d19b1-baff-43ec-8a47-06d94c11a22a" providerId="ADAL" clId="{79C35655-9945-47CC-AD84-C44BB0CFCD9E}" dt="2023-03-31T05:13:17.392" v="2480" actId="20577"/>
        <pc:sldMkLst>
          <pc:docMk/>
          <pc:sldMk cId="1035536083" sldId="363"/>
        </pc:sldMkLst>
        <pc:spChg chg="del">
          <ac:chgData name="Chan, Joel (Allianz SE Singapore Branch)" userId="486d19b1-baff-43ec-8a47-06d94c11a22a" providerId="ADAL" clId="{79C35655-9945-47CC-AD84-C44BB0CFCD9E}" dt="2023-03-31T02:41:49.919" v="2033" actId="478"/>
          <ac:spMkLst>
            <pc:docMk/>
            <pc:sldMk cId="1035536083" sldId="363"/>
            <ac:spMk id="9" creationId="{04035A73-03EB-4AAD-B67F-08A711353D1C}"/>
          </ac:spMkLst>
        </pc:spChg>
        <pc:spChg chg="add mod">
          <ac:chgData name="Chan, Joel (Allianz SE Singapore Branch)" userId="486d19b1-baff-43ec-8a47-06d94c11a22a" providerId="ADAL" clId="{79C35655-9945-47CC-AD84-C44BB0CFCD9E}" dt="2023-03-31T05:13:17.392" v="2480" actId="20577"/>
          <ac:spMkLst>
            <pc:docMk/>
            <pc:sldMk cId="1035536083" sldId="363"/>
            <ac:spMk id="17" creationId="{CBE3A1D4-9A36-4104-B0E8-F46AB273EE26}"/>
          </ac:spMkLst>
        </pc:spChg>
        <pc:spChg chg="mod">
          <ac:chgData name="Chan, Joel (Allianz SE Singapore Branch)" userId="486d19b1-baff-43ec-8a47-06d94c11a22a" providerId="ADAL" clId="{79C35655-9945-47CC-AD84-C44BB0CFCD9E}" dt="2023-03-31T01:32:59.179" v="1504" actId="20577"/>
          <ac:spMkLst>
            <pc:docMk/>
            <pc:sldMk cId="1035536083" sldId="363"/>
            <ac:spMk id="29" creationId="{C3D4C3F4-574E-452E-A420-BAAF269E0EEF}"/>
          </ac:spMkLst>
        </pc:spChg>
        <pc:spChg chg="del">
          <ac:chgData name="Chan, Joel (Allianz SE Singapore Branch)" userId="486d19b1-baff-43ec-8a47-06d94c11a22a" providerId="ADAL" clId="{79C35655-9945-47CC-AD84-C44BB0CFCD9E}" dt="2023-03-31T02:41:26.310" v="1911" actId="478"/>
          <ac:spMkLst>
            <pc:docMk/>
            <pc:sldMk cId="1035536083" sldId="363"/>
            <ac:spMk id="30" creationId="{3C0D5F2C-5910-41CF-8B92-CC90494A331D}"/>
          </ac:spMkLst>
        </pc:spChg>
        <pc:grpChg chg="del">
          <ac:chgData name="Chan, Joel (Allianz SE Singapore Branch)" userId="486d19b1-baff-43ec-8a47-06d94c11a22a" providerId="ADAL" clId="{79C35655-9945-47CC-AD84-C44BB0CFCD9E}" dt="2023-03-31T02:41:49.919" v="2033" actId="478"/>
          <ac:grpSpMkLst>
            <pc:docMk/>
            <pc:sldMk cId="1035536083" sldId="363"/>
            <ac:grpSpMk id="33" creationId="{7562B530-5401-4134-8A72-A9DEBC55E800}"/>
          </ac:grpSpMkLst>
        </pc:grpChg>
        <pc:graphicFrameChg chg="del">
          <ac:chgData name="Chan, Joel (Allianz SE Singapore Branch)" userId="486d19b1-baff-43ec-8a47-06d94c11a22a" providerId="ADAL" clId="{79C35655-9945-47CC-AD84-C44BB0CFCD9E}" dt="2023-03-31T02:41:56.341" v="2034" actId="478"/>
          <ac:graphicFrameMkLst>
            <pc:docMk/>
            <pc:sldMk cId="1035536083" sldId="363"/>
            <ac:graphicFrameMk id="18" creationId="{F26A6364-88D1-43E1-AEDE-600D379E4363}"/>
          </ac:graphicFrameMkLst>
        </pc:graphicFrameChg>
        <pc:graphicFrameChg chg="modGraphic">
          <ac:chgData name="Chan, Joel (Allianz SE Singapore Branch)" userId="486d19b1-baff-43ec-8a47-06d94c11a22a" providerId="ADAL" clId="{79C35655-9945-47CC-AD84-C44BB0CFCD9E}" dt="2023-03-31T01:34:02.801" v="1624" actId="20577"/>
          <ac:graphicFrameMkLst>
            <pc:docMk/>
            <pc:sldMk cId="1035536083" sldId="363"/>
            <ac:graphicFrameMk id="19" creationId="{B849A2D0-0E0C-4B57-8418-BA166A3CE887}"/>
          </ac:graphicFrameMkLst>
        </pc:graphicFrameChg>
      </pc:sldChg>
      <pc:sldChg chg="delSp modSp add mod">
        <pc:chgData name="Chan, Joel (Allianz SE Singapore Branch)" userId="486d19b1-baff-43ec-8a47-06d94c11a22a" providerId="ADAL" clId="{79C35655-9945-47CC-AD84-C44BB0CFCD9E}" dt="2023-04-03T01:59:28.545" v="2772" actId="20577"/>
        <pc:sldMkLst>
          <pc:docMk/>
          <pc:sldMk cId="1787101965" sldId="364"/>
        </pc:sldMkLst>
        <pc:spChg chg="del">
          <ac:chgData name="Chan, Joel (Allianz SE Singapore Branch)" userId="486d19b1-baff-43ec-8a47-06d94c11a22a" providerId="ADAL" clId="{79C35655-9945-47CC-AD84-C44BB0CFCD9E}" dt="2023-03-31T02:42:37.312" v="2041" actId="478"/>
          <ac:spMkLst>
            <pc:docMk/>
            <pc:sldMk cId="1787101965" sldId="364"/>
            <ac:spMk id="9" creationId="{04035A73-03EB-4AAD-B67F-08A711353D1C}"/>
          </ac:spMkLst>
        </pc:spChg>
        <pc:grpChg chg="del">
          <ac:chgData name="Chan, Joel (Allianz SE Singapore Branch)" userId="486d19b1-baff-43ec-8a47-06d94c11a22a" providerId="ADAL" clId="{79C35655-9945-47CC-AD84-C44BB0CFCD9E}" dt="2023-03-31T02:42:37.312" v="2041" actId="478"/>
          <ac:grpSpMkLst>
            <pc:docMk/>
            <pc:sldMk cId="1787101965" sldId="364"/>
            <ac:grpSpMk id="33" creationId="{7562B530-5401-4134-8A72-A9DEBC55E800}"/>
          </ac:grpSpMkLst>
        </pc:grpChg>
        <pc:graphicFrameChg chg="modGraphic">
          <ac:chgData name="Chan, Joel (Allianz SE Singapore Branch)" userId="486d19b1-baff-43ec-8a47-06d94c11a22a" providerId="ADAL" clId="{79C35655-9945-47CC-AD84-C44BB0CFCD9E}" dt="2023-04-03T01:59:28.545" v="2772" actId="20577"/>
          <ac:graphicFrameMkLst>
            <pc:docMk/>
            <pc:sldMk cId="1787101965" sldId="364"/>
            <ac:graphicFrameMk id="20" creationId="{49D53C52-A63D-4072-8862-98D5841FBB35}"/>
          </ac:graphicFrameMkLst>
        </pc:graphicFrameChg>
      </pc:sldChg>
      <pc:sldChg chg="delSp modSp add mod">
        <pc:chgData name="Chan, Joel (Allianz SE Singapore Branch)" userId="486d19b1-baff-43ec-8a47-06d94c11a22a" providerId="ADAL" clId="{79C35655-9945-47CC-AD84-C44BB0CFCD9E}" dt="2023-04-03T01:59:37.324" v="2784" actId="20577"/>
        <pc:sldMkLst>
          <pc:docMk/>
          <pc:sldMk cId="4262534101" sldId="365"/>
        </pc:sldMkLst>
        <pc:spChg chg="del">
          <ac:chgData name="Chan, Joel (Allianz SE Singapore Branch)" userId="486d19b1-baff-43ec-8a47-06d94c11a22a" providerId="ADAL" clId="{79C35655-9945-47CC-AD84-C44BB0CFCD9E}" dt="2023-03-31T02:42:50.609" v="2042" actId="478"/>
          <ac:spMkLst>
            <pc:docMk/>
            <pc:sldMk cId="4262534101" sldId="365"/>
            <ac:spMk id="9" creationId="{04035A73-03EB-4AAD-B67F-08A711353D1C}"/>
          </ac:spMkLst>
        </pc:spChg>
        <pc:grpChg chg="del">
          <ac:chgData name="Chan, Joel (Allianz SE Singapore Branch)" userId="486d19b1-baff-43ec-8a47-06d94c11a22a" providerId="ADAL" clId="{79C35655-9945-47CC-AD84-C44BB0CFCD9E}" dt="2023-03-31T02:42:50.609" v="2042" actId="478"/>
          <ac:grpSpMkLst>
            <pc:docMk/>
            <pc:sldMk cId="4262534101" sldId="365"/>
            <ac:grpSpMk id="33" creationId="{7562B530-5401-4134-8A72-A9DEBC55E800}"/>
          </ac:grpSpMkLst>
        </pc:grpChg>
        <pc:graphicFrameChg chg="modGraphic">
          <ac:chgData name="Chan, Joel (Allianz SE Singapore Branch)" userId="486d19b1-baff-43ec-8a47-06d94c11a22a" providerId="ADAL" clId="{79C35655-9945-47CC-AD84-C44BB0CFCD9E}" dt="2023-04-03T01:59:37.324" v="2784" actId="20577"/>
          <ac:graphicFrameMkLst>
            <pc:docMk/>
            <pc:sldMk cId="4262534101" sldId="365"/>
            <ac:graphicFrameMk id="20" creationId="{49D53C52-A63D-4072-8862-98D5841FBB35}"/>
          </ac:graphicFrameMkLst>
        </pc:graphicFrameChg>
      </pc:sldChg>
    </pc:docChg>
  </pc:docChgLst>
  <pc:docChgLst>
    <pc:chgData name="Tan, Vincent (Allianz SE Singapore Branch)" userId="bbbac036-7280-4bac-9c0d-a2e2069e1d29" providerId="ADAL" clId="{9705F007-7B00-4062-93A0-BA587561B57D}"/>
    <pc:docChg chg="undo redo custSel addSld delSld modSld sldOrd delMainMaster">
      <pc:chgData name="Tan, Vincent (Allianz SE Singapore Branch)" userId="bbbac036-7280-4bac-9c0d-a2e2069e1d29" providerId="ADAL" clId="{9705F007-7B00-4062-93A0-BA587561B57D}" dt="2021-07-18T12:44:11.189" v="10296" actId="20577"/>
      <pc:docMkLst>
        <pc:docMk/>
      </pc:docMkLst>
      <pc:sldChg chg="del">
        <pc:chgData name="Tan, Vincent (Allianz SE Singapore Branch)" userId="bbbac036-7280-4bac-9c0d-a2e2069e1d29" providerId="ADAL" clId="{9705F007-7B00-4062-93A0-BA587561B57D}" dt="2021-07-14T05:41:05.239" v="6436" actId="47"/>
        <pc:sldMkLst>
          <pc:docMk/>
          <pc:sldMk cId="3418032456" sldId="256"/>
        </pc:sldMkLst>
      </pc:sldChg>
      <pc:sldChg chg="modSp del mod">
        <pc:chgData name="Tan, Vincent (Allianz SE Singapore Branch)" userId="bbbac036-7280-4bac-9c0d-a2e2069e1d29" providerId="ADAL" clId="{9705F007-7B00-4062-93A0-BA587561B57D}" dt="2021-07-14T05:40:59.399" v="6432" actId="47"/>
        <pc:sldMkLst>
          <pc:docMk/>
          <pc:sldMk cId="4150961444" sldId="257"/>
        </pc:sldMkLst>
        <pc:spChg chg="mod">
          <ac:chgData name="Tan, Vincent (Allianz SE Singapore Branch)" userId="bbbac036-7280-4bac-9c0d-a2e2069e1d29" providerId="ADAL" clId="{9705F007-7B00-4062-93A0-BA587561B57D}" dt="2021-07-13T21:43:11.860" v="183" actId="20577"/>
          <ac:spMkLst>
            <pc:docMk/>
            <pc:sldMk cId="4150961444" sldId="257"/>
            <ac:spMk id="8" creationId="{7DE9121B-5E29-476E-A659-CE59D8F2D778}"/>
          </ac:spMkLst>
        </pc:spChg>
      </pc:sldChg>
      <pc:sldChg chg="del">
        <pc:chgData name="Tan, Vincent (Allianz SE Singapore Branch)" userId="bbbac036-7280-4bac-9c0d-a2e2069e1d29" providerId="ADAL" clId="{9705F007-7B00-4062-93A0-BA587561B57D}" dt="2021-07-14T05:41:01.070" v="6433" actId="47"/>
        <pc:sldMkLst>
          <pc:docMk/>
          <pc:sldMk cId="2615866384" sldId="258"/>
        </pc:sldMkLst>
      </pc:sldChg>
      <pc:sldChg chg="del">
        <pc:chgData name="Tan, Vincent (Allianz SE Singapore Branch)" userId="bbbac036-7280-4bac-9c0d-a2e2069e1d29" providerId="ADAL" clId="{9705F007-7B00-4062-93A0-BA587561B57D}" dt="2021-07-14T05:41:03.230" v="6434" actId="47"/>
        <pc:sldMkLst>
          <pc:docMk/>
          <pc:sldMk cId="3978263091" sldId="259"/>
        </pc:sldMkLst>
      </pc:sldChg>
      <pc:sldChg chg="del">
        <pc:chgData name="Tan, Vincent (Allianz SE Singapore Branch)" userId="bbbac036-7280-4bac-9c0d-a2e2069e1d29" providerId="ADAL" clId="{9705F007-7B00-4062-93A0-BA587561B57D}" dt="2021-07-14T05:41:21.350" v="6439" actId="47"/>
        <pc:sldMkLst>
          <pc:docMk/>
          <pc:sldMk cId="4054654029" sldId="260"/>
        </pc:sldMkLst>
      </pc:sldChg>
      <pc:sldChg chg="del">
        <pc:chgData name="Tan, Vincent (Allianz SE Singapore Branch)" userId="bbbac036-7280-4bac-9c0d-a2e2069e1d29" providerId="ADAL" clId="{9705F007-7B00-4062-93A0-BA587561B57D}" dt="2021-07-14T05:41:21.350" v="6439" actId="47"/>
        <pc:sldMkLst>
          <pc:docMk/>
          <pc:sldMk cId="2759331422" sldId="261"/>
        </pc:sldMkLst>
      </pc:sldChg>
      <pc:sldChg chg="del">
        <pc:chgData name="Tan, Vincent (Allianz SE Singapore Branch)" userId="bbbac036-7280-4bac-9c0d-a2e2069e1d29" providerId="ADAL" clId="{9705F007-7B00-4062-93A0-BA587561B57D}" dt="2021-07-14T05:41:21.350" v="6439" actId="47"/>
        <pc:sldMkLst>
          <pc:docMk/>
          <pc:sldMk cId="3950756073" sldId="262"/>
        </pc:sldMkLst>
      </pc:sldChg>
      <pc:sldChg chg="del">
        <pc:chgData name="Tan, Vincent (Allianz SE Singapore Branch)" userId="bbbac036-7280-4bac-9c0d-a2e2069e1d29" providerId="ADAL" clId="{9705F007-7B00-4062-93A0-BA587561B57D}" dt="2021-07-14T05:41:21.350" v="6439" actId="47"/>
        <pc:sldMkLst>
          <pc:docMk/>
          <pc:sldMk cId="2399636396" sldId="263"/>
        </pc:sldMkLst>
      </pc:sldChg>
      <pc:sldChg chg="del">
        <pc:chgData name="Tan, Vincent (Allianz SE Singapore Branch)" userId="bbbac036-7280-4bac-9c0d-a2e2069e1d29" providerId="ADAL" clId="{9705F007-7B00-4062-93A0-BA587561B57D}" dt="2021-07-14T05:42:13.131" v="6451" actId="47"/>
        <pc:sldMkLst>
          <pc:docMk/>
          <pc:sldMk cId="72107706" sldId="264"/>
        </pc:sldMkLst>
      </pc:sldChg>
      <pc:sldChg chg="modSp del">
        <pc:chgData name="Tan, Vincent (Allianz SE Singapore Branch)" userId="bbbac036-7280-4bac-9c0d-a2e2069e1d29" providerId="ADAL" clId="{9705F007-7B00-4062-93A0-BA587561B57D}" dt="2021-07-14T05:42:13.131" v="6451" actId="47"/>
        <pc:sldMkLst>
          <pc:docMk/>
          <pc:sldMk cId="4085972207" sldId="265"/>
        </pc:sldMkLst>
        <pc:spChg chg="mod">
          <ac:chgData name="Tan, Vincent (Allianz SE Singapore Branch)" userId="bbbac036-7280-4bac-9c0d-a2e2069e1d29" providerId="ADAL" clId="{9705F007-7B00-4062-93A0-BA587561B57D}" dt="2021-07-13T23:59:25.140" v="1504" actId="207"/>
          <ac:spMkLst>
            <pc:docMk/>
            <pc:sldMk cId="4085972207" sldId="265"/>
            <ac:spMk id="12" creationId="{EEB4AD1C-013D-4BC3-8F0D-3E5815DAD982}"/>
          </ac:spMkLst>
        </pc:spChg>
      </pc:sldChg>
      <pc:sldChg chg="del">
        <pc:chgData name="Tan, Vincent (Allianz SE Singapore Branch)" userId="bbbac036-7280-4bac-9c0d-a2e2069e1d29" providerId="ADAL" clId="{9705F007-7B00-4062-93A0-BA587561B57D}" dt="2021-07-14T05:41:27.564" v="6441" actId="47"/>
        <pc:sldMkLst>
          <pc:docMk/>
          <pc:sldMk cId="599424366" sldId="266"/>
        </pc:sldMkLst>
      </pc:sldChg>
      <pc:sldChg chg="del">
        <pc:chgData name="Tan, Vincent (Allianz SE Singapore Branch)" userId="bbbac036-7280-4bac-9c0d-a2e2069e1d29" providerId="ADAL" clId="{9705F007-7B00-4062-93A0-BA587561B57D}" dt="2021-07-14T05:41:28.799" v="6442" actId="47"/>
        <pc:sldMkLst>
          <pc:docMk/>
          <pc:sldMk cId="1608171061" sldId="267"/>
        </pc:sldMkLst>
      </pc:sldChg>
      <pc:sldChg chg="del">
        <pc:chgData name="Tan, Vincent (Allianz SE Singapore Branch)" userId="bbbac036-7280-4bac-9c0d-a2e2069e1d29" providerId="ADAL" clId="{9705F007-7B00-4062-93A0-BA587561B57D}" dt="2021-07-14T05:41:30.718" v="6443" actId="47"/>
        <pc:sldMkLst>
          <pc:docMk/>
          <pc:sldMk cId="1317575050" sldId="268"/>
        </pc:sldMkLst>
      </pc:sldChg>
      <pc:sldChg chg="del">
        <pc:chgData name="Tan, Vincent (Allianz SE Singapore Branch)" userId="bbbac036-7280-4bac-9c0d-a2e2069e1d29" providerId="ADAL" clId="{9705F007-7B00-4062-93A0-BA587561B57D}" dt="2021-07-14T05:41:32.090" v="6444" actId="47"/>
        <pc:sldMkLst>
          <pc:docMk/>
          <pc:sldMk cId="238807694" sldId="269"/>
        </pc:sldMkLst>
      </pc:sldChg>
      <pc:sldChg chg="add del">
        <pc:chgData name="Tan, Vincent (Allianz SE Singapore Branch)" userId="bbbac036-7280-4bac-9c0d-a2e2069e1d29" providerId="ADAL" clId="{9705F007-7B00-4062-93A0-BA587561B57D}" dt="2021-07-14T05:41:39.426" v="6447" actId="47"/>
        <pc:sldMkLst>
          <pc:docMk/>
          <pc:sldMk cId="498644304" sldId="270"/>
        </pc:sldMkLst>
      </pc:sldChg>
      <pc:sldChg chg="del">
        <pc:chgData name="Tan, Vincent (Allianz SE Singapore Branch)" userId="bbbac036-7280-4bac-9c0d-a2e2069e1d29" providerId="ADAL" clId="{9705F007-7B00-4062-93A0-BA587561B57D}" dt="2021-07-14T05:41:41.192" v="6448" actId="47"/>
        <pc:sldMkLst>
          <pc:docMk/>
          <pc:sldMk cId="2207346500" sldId="271"/>
        </pc:sldMkLst>
      </pc:sldChg>
      <pc:sldChg chg="del">
        <pc:chgData name="Tan, Vincent (Allianz SE Singapore Branch)" userId="bbbac036-7280-4bac-9c0d-a2e2069e1d29" providerId="ADAL" clId="{9705F007-7B00-4062-93A0-BA587561B57D}" dt="2021-07-14T05:41:42.602" v="6449" actId="47"/>
        <pc:sldMkLst>
          <pc:docMk/>
          <pc:sldMk cId="487195289" sldId="272"/>
        </pc:sldMkLst>
      </pc:sldChg>
      <pc:sldChg chg="del">
        <pc:chgData name="Tan, Vincent (Allianz SE Singapore Branch)" userId="bbbac036-7280-4bac-9c0d-a2e2069e1d29" providerId="ADAL" clId="{9705F007-7B00-4062-93A0-BA587561B57D}" dt="2021-07-14T05:41:44.112" v="6450" actId="47"/>
        <pc:sldMkLst>
          <pc:docMk/>
          <pc:sldMk cId="2628904136" sldId="273"/>
        </pc:sldMkLst>
      </pc:sldChg>
      <pc:sldChg chg="del">
        <pc:chgData name="Tan, Vincent (Allianz SE Singapore Branch)" userId="bbbac036-7280-4bac-9c0d-a2e2069e1d29" providerId="ADAL" clId="{9705F007-7B00-4062-93A0-BA587561B57D}" dt="2021-07-14T05:42:13.131" v="6451" actId="47"/>
        <pc:sldMkLst>
          <pc:docMk/>
          <pc:sldMk cId="2075654125" sldId="274"/>
        </pc:sldMkLst>
      </pc:sldChg>
      <pc:sldChg chg="del">
        <pc:chgData name="Tan, Vincent (Allianz SE Singapore Branch)" userId="bbbac036-7280-4bac-9c0d-a2e2069e1d29" providerId="ADAL" clId="{9705F007-7B00-4062-93A0-BA587561B57D}" dt="2021-07-14T05:42:29.859" v="6452" actId="47"/>
        <pc:sldMkLst>
          <pc:docMk/>
          <pc:sldMk cId="845467964" sldId="275"/>
        </pc:sldMkLst>
      </pc:sldChg>
      <pc:sldChg chg="del">
        <pc:chgData name="Tan, Vincent (Allianz SE Singapore Branch)" userId="bbbac036-7280-4bac-9c0d-a2e2069e1d29" providerId="ADAL" clId="{9705F007-7B00-4062-93A0-BA587561B57D}" dt="2021-07-14T05:42:29.859" v="6452" actId="47"/>
        <pc:sldMkLst>
          <pc:docMk/>
          <pc:sldMk cId="3189382602" sldId="276"/>
        </pc:sldMkLst>
      </pc:sldChg>
      <pc:sldChg chg="addSp delSp modSp del mod">
        <pc:chgData name="Tan, Vincent (Allianz SE Singapore Branch)" userId="bbbac036-7280-4bac-9c0d-a2e2069e1d29" providerId="ADAL" clId="{9705F007-7B00-4062-93A0-BA587561B57D}" dt="2021-07-14T05:52:03.501" v="6524" actId="47"/>
        <pc:sldMkLst>
          <pc:docMk/>
          <pc:sldMk cId="762880703" sldId="277"/>
        </pc:sldMkLst>
        <pc:spChg chg="add del mod">
          <ac:chgData name="Tan, Vincent (Allianz SE Singapore Branch)" userId="bbbac036-7280-4bac-9c0d-a2e2069e1d29" providerId="ADAL" clId="{9705F007-7B00-4062-93A0-BA587561B57D}" dt="2021-07-14T05:50:29.726" v="6464" actId="478"/>
          <ac:spMkLst>
            <pc:docMk/>
            <pc:sldMk cId="762880703" sldId="277"/>
            <ac:spMk id="3" creationId="{CAF36C42-E2CD-49FE-83BE-55DE6D7DEEC2}"/>
          </ac:spMkLst>
        </pc:spChg>
        <pc:spChg chg="mod">
          <ac:chgData name="Tan, Vincent (Allianz SE Singapore Branch)" userId="bbbac036-7280-4bac-9c0d-a2e2069e1d29" providerId="ADAL" clId="{9705F007-7B00-4062-93A0-BA587561B57D}" dt="2021-07-14T05:50:22.152" v="6462" actId="20577"/>
          <ac:spMkLst>
            <pc:docMk/>
            <pc:sldMk cId="762880703" sldId="277"/>
            <ac:spMk id="5" creationId="{435C672E-16DA-4B50-8FEC-079AC8BA9F28}"/>
          </ac:spMkLst>
        </pc:spChg>
        <pc:spChg chg="mod">
          <ac:chgData name="Tan, Vincent (Allianz SE Singapore Branch)" userId="bbbac036-7280-4bac-9c0d-a2e2069e1d29" providerId="ADAL" clId="{9705F007-7B00-4062-93A0-BA587561B57D}" dt="2021-07-14T05:50:38.404" v="6467" actId="6549"/>
          <ac:spMkLst>
            <pc:docMk/>
            <pc:sldMk cId="762880703" sldId="277"/>
            <ac:spMk id="6" creationId="{CFA22B76-A897-4E36-BFED-AA623003156A}"/>
          </ac:spMkLst>
        </pc:spChg>
        <pc:spChg chg="del">
          <ac:chgData name="Tan, Vincent (Allianz SE Singapore Branch)" userId="bbbac036-7280-4bac-9c0d-a2e2069e1d29" providerId="ADAL" clId="{9705F007-7B00-4062-93A0-BA587561B57D}" dt="2021-07-14T05:50:25.732" v="6463" actId="478"/>
          <ac:spMkLst>
            <pc:docMk/>
            <pc:sldMk cId="762880703" sldId="277"/>
            <ac:spMk id="7" creationId="{A5758957-284B-4EDA-BB59-D7A92DF8676B}"/>
          </ac:spMkLst>
        </pc:spChg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641265633" sldId="278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4102289964" sldId="279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617669034" sldId="280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2695097481" sldId="281"/>
        </pc:sldMkLst>
      </pc:sldChg>
      <pc:sldChg chg="delSp modSp add del mod">
        <pc:chgData name="Tan, Vincent (Allianz SE Singapore Branch)" userId="bbbac036-7280-4bac-9c0d-a2e2069e1d29" providerId="ADAL" clId="{9705F007-7B00-4062-93A0-BA587561B57D}" dt="2021-07-14T07:33:29.494" v="6993" actId="47"/>
        <pc:sldMkLst>
          <pc:docMk/>
          <pc:sldMk cId="2758185311" sldId="281"/>
        </pc:sldMkLst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29" creationId="{0C75ECC3-C1DE-498A-A35D-7EC3E0BEED73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30" creationId="{0C75ECC3-C1DE-498A-A35D-7EC3E0BEED73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33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37" creationId="{0C75ECC3-C1DE-498A-A35D-7EC3E0BEED73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38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39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0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1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2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3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4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5" creationId="{00000000-0000-0000-0000-000000000000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6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7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48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0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1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2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3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7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58.209" v="6965" actId="21"/>
          <ac:spMkLst>
            <pc:docMk/>
            <pc:sldMk cId="2758185311" sldId="281"/>
            <ac:spMk id="58" creationId="{00000000-0000-0000-0000-000000000000}"/>
          </ac:spMkLst>
        </pc:spChg>
        <pc:graphicFrameChg chg="del">
          <ac:chgData name="Tan, Vincent (Allianz SE Singapore Branch)" userId="bbbac036-7280-4bac-9c0d-a2e2069e1d29" providerId="ADAL" clId="{9705F007-7B00-4062-93A0-BA587561B57D}" dt="2021-07-14T07:32:58.209" v="6965" actId="21"/>
          <ac:graphicFrameMkLst>
            <pc:docMk/>
            <pc:sldMk cId="2758185311" sldId="281"/>
            <ac:graphicFrameMk id="34" creationId="{00000000-0000-0000-0000-000000000000}"/>
          </ac:graphicFrameMkLst>
        </pc:graphicFrameChg>
        <pc:cxnChg chg="del mod">
          <ac:chgData name="Tan, Vincent (Allianz SE Singapore Branch)" userId="bbbac036-7280-4bac-9c0d-a2e2069e1d29" providerId="ADAL" clId="{9705F007-7B00-4062-93A0-BA587561B57D}" dt="2021-07-14T07:32:58.209" v="6965" actId="21"/>
          <ac:cxnSpMkLst>
            <pc:docMk/>
            <pc:sldMk cId="2758185311" sldId="281"/>
            <ac:cxnSpMk id="49" creationId="{00000000-0000-0000-0000-000000000000}"/>
          </ac:cxnSpMkLst>
        </pc:cxnChg>
        <pc:cxnChg chg="del mod">
          <ac:chgData name="Tan, Vincent (Allianz SE Singapore Branch)" userId="bbbac036-7280-4bac-9c0d-a2e2069e1d29" providerId="ADAL" clId="{9705F007-7B00-4062-93A0-BA587561B57D}" dt="2021-07-14T07:32:58.209" v="6965" actId="21"/>
          <ac:cxnSpMkLst>
            <pc:docMk/>
            <pc:sldMk cId="2758185311" sldId="281"/>
            <ac:cxnSpMk id="54" creationId="{00000000-0000-0000-0000-000000000000}"/>
          </ac:cxnSpMkLst>
        </pc:cxnChg>
        <pc:cxnChg chg="del mod">
          <ac:chgData name="Tan, Vincent (Allianz SE Singapore Branch)" userId="bbbac036-7280-4bac-9c0d-a2e2069e1d29" providerId="ADAL" clId="{9705F007-7B00-4062-93A0-BA587561B57D}" dt="2021-07-14T07:32:58.209" v="6965" actId="21"/>
          <ac:cxnSpMkLst>
            <pc:docMk/>
            <pc:sldMk cId="2758185311" sldId="281"/>
            <ac:cxnSpMk id="55" creationId="{00000000-0000-0000-0000-000000000000}"/>
          </ac:cxnSpMkLst>
        </pc:cxnChg>
        <pc:cxnChg chg="del mod">
          <ac:chgData name="Tan, Vincent (Allianz SE Singapore Branch)" userId="bbbac036-7280-4bac-9c0d-a2e2069e1d29" providerId="ADAL" clId="{9705F007-7B00-4062-93A0-BA587561B57D}" dt="2021-07-14T07:32:58.209" v="6965" actId="21"/>
          <ac:cxnSpMkLst>
            <pc:docMk/>
            <pc:sldMk cId="2758185311" sldId="281"/>
            <ac:cxnSpMk id="56" creationId="{00000000-0000-0000-0000-000000000000}"/>
          </ac:cxnSpMkLst>
        </pc:cxnChg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742214965" sldId="282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4161733383" sldId="283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647413215" sldId="284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519031927" sldId="285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1439125789" sldId="286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1785406130" sldId="287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471638424" sldId="288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2112322557" sldId="289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485550900" sldId="291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680753684" sldId="293"/>
        </pc:sldMkLst>
      </pc:sldChg>
      <pc:sldChg chg="del">
        <pc:chgData name="Tan, Vincent (Allianz SE Singapore Branch)" userId="bbbac036-7280-4bac-9c0d-a2e2069e1d29" providerId="ADAL" clId="{9705F007-7B00-4062-93A0-BA587561B57D}" dt="2021-07-14T07:30:57.336" v="6926" actId="47"/>
        <pc:sldMkLst>
          <pc:docMk/>
          <pc:sldMk cId="1650580389" sldId="294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381367089" sldId="295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2359301405" sldId="296"/>
        </pc:sldMkLst>
      </pc:sldChg>
      <pc:sldChg chg="del">
        <pc:chgData name="Tan, Vincent (Allianz SE Singapore Branch)" userId="bbbac036-7280-4bac-9c0d-a2e2069e1d29" providerId="ADAL" clId="{9705F007-7B00-4062-93A0-BA587561B57D}" dt="2021-07-14T05:40:47.234" v="6429" actId="47"/>
        <pc:sldMkLst>
          <pc:docMk/>
          <pc:sldMk cId="553773668" sldId="297"/>
        </pc:sldMkLst>
      </pc:sldChg>
      <pc:sldChg chg="del">
        <pc:chgData name="Tan, Vincent (Allianz SE Singapore Branch)" userId="bbbac036-7280-4bac-9c0d-a2e2069e1d29" providerId="ADAL" clId="{9705F007-7B00-4062-93A0-BA587561B57D}" dt="2021-07-14T05:41:04.376" v="6435" actId="47"/>
        <pc:sldMkLst>
          <pc:docMk/>
          <pc:sldMk cId="2252851497" sldId="299"/>
        </pc:sldMkLst>
      </pc:sldChg>
      <pc:sldChg chg="del">
        <pc:chgData name="Tan, Vincent (Allianz SE Singapore Branch)" userId="bbbac036-7280-4bac-9c0d-a2e2069e1d29" providerId="ADAL" clId="{9705F007-7B00-4062-93A0-BA587561B57D}" dt="2021-07-14T05:41:05.940" v="6437" actId="47"/>
        <pc:sldMkLst>
          <pc:docMk/>
          <pc:sldMk cId="4084464531" sldId="300"/>
        </pc:sldMkLst>
      </pc:sldChg>
      <pc:sldChg chg="del">
        <pc:chgData name="Tan, Vincent (Allianz SE Singapore Branch)" userId="bbbac036-7280-4bac-9c0d-a2e2069e1d29" providerId="ADAL" clId="{9705F007-7B00-4062-93A0-BA587561B57D}" dt="2021-07-14T05:41:06.770" v="6438" actId="47"/>
        <pc:sldMkLst>
          <pc:docMk/>
          <pc:sldMk cId="2576364006" sldId="301"/>
        </pc:sldMkLst>
      </pc:sldChg>
      <pc:sldChg chg="del">
        <pc:chgData name="Tan, Vincent (Allianz SE Singapore Branch)" userId="bbbac036-7280-4bac-9c0d-a2e2069e1d29" providerId="ADAL" clId="{9705F007-7B00-4062-93A0-BA587561B57D}" dt="2021-07-14T05:41:24.626" v="6440" actId="47"/>
        <pc:sldMkLst>
          <pc:docMk/>
          <pc:sldMk cId="2175420734" sldId="302"/>
        </pc:sldMkLst>
      </pc:sldChg>
      <pc:sldChg chg="del">
        <pc:chgData name="Tan, Vincent (Allianz SE Singapore Branch)" userId="bbbac036-7280-4bac-9c0d-a2e2069e1d29" providerId="ADAL" clId="{9705F007-7B00-4062-93A0-BA587561B57D}" dt="2021-07-14T05:42:29.859" v="6452" actId="47"/>
        <pc:sldMkLst>
          <pc:docMk/>
          <pc:sldMk cId="3395243455" sldId="303"/>
        </pc:sldMkLst>
      </pc:sldChg>
      <pc:sldChg chg="addSp delSp modSp del mod">
        <pc:chgData name="Tan, Vincent (Allianz SE Singapore Branch)" userId="bbbac036-7280-4bac-9c0d-a2e2069e1d29" providerId="ADAL" clId="{9705F007-7B00-4062-93A0-BA587561B57D}" dt="2021-07-14T07:30:57.336" v="6926" actId="47"/>
        <pc:sldMkLst>
          <pc:docMk/>
          <pc:sldMk cId="3254174285" sldId="304"/>
        </pc:sldMkLst>
        <pc:spChg chg="add del mod">
          <ac:chgData name="Tan, Vincent (Allianz SE Singapore Branch)" userId="bbbac036-7280-4bac-9c0d-a2e2069e1d29" providerId="ADAL" clId="{9705F007-7B00-4062-93A0-BA587561B57D}" dt="2021-07-14T05:51:48.016" v="6523" actId="478"/>
          <ac:spMkLst>
            <pc:docMk/>
            <pc:sldMk cId="3254174285" sldId="304"/>
            <ac:spMk id="3" creationId="{CBFECDCB-42A5-4FE6-BF3B-65B04208CDBE}"/>
          </ac:spMkLst>
        </pc:spChg>
        <pc:spChg chg="mod">
          <ac:chgData name="Tan, Vincent (Allianz SE Singapore Branch)" userId="bbbac036-7280-4bac-9c0d-a2e2069e1d29" providerId="ADAL" clId="{9705F007-7B00-4062-93A0-BA587561B57D}" dt="2021-07-14T05:51:13.995" v="6486" actId="20577"/>
          <ac:spMkLst>
            <pc:docMk/>
            <pc:sldMk cId="3254174285" sldId="304"/>
            <ac:spMk id="5" creationId="{435C672E-16DA-4B50-8FEC-079AC8BA9F28}"/>
          </ac:spMkLst>
        </pc:spChg>
        <pc:spChg chg="mod">
          <ac:chgData name="Tan, Vincent (Allianz SE Singapore Branch)" userId="bbbac036-7280-4bac-9c0d-a2e2069e1d29" providerId="ADAL" clId="{9705F007-7B00-4062-93A0-BA587561B57D}" dt="2021-07-14T05:51:37.623" v="6521" actId="20577"/>
          <ac:spMkLst>
            <pc:docMk/>
            <pc:sldMk cId="3254174285" sldId="304"/>
            <ac:spMk id="6" creationId="{CFA22B76-A897-4E36-BFED-AA623003156A}"/>
          </ac:spMkLst>
        </pc:spChg>
        <pc:spChg chg="del">
          <ac:chgData name="Tan, Vincent (Allianz SE Singapore Branch)" userId="bbbac036-7280-4bac-9c0d-a2e2069e1d29" providerId="ADAL" clId="{9705F007-7B00-4062-93A0-BA587561B57D}" dt="2021-07-14T05:51:43.198" v="6522" actId="478"/>
          <ac:spMkLst>
            <pc:docMk/>
            <pc:sldMk cId="3254174285" sldId="304"/>
            <ac:spMk id="7" creationId="{A5758957-284B-4EDA-BB59-D7A92DF8676B}"/>
          </ac:spMkLst>
        </pc:spChg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689818811" sldId="305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3138979546" sldId="306"/>
        </pc:sldMkLst>
      </pc:sldChg>
      <pc:sldChg chg="del">
        <pc:chgData name="Tan, Vincent (Allianz SE Singapore Branch)" userId="bbbac036-7280-4bac-9c0d-a2e2069e1d29" providerId="ADAL" clId="{9705F007-7B00-4062-93A0-BA587561B57D}" dt="2021-07-14T05:40:47.778" v="6430" actId="47"/>
        <pc:sldMkLst>
          <pc:docMk/>
          <pc:sldMk cId="3427059364" sldId="307"/>
        </pc:sldMkLst>
      </pc:sldChg>
      <pc:sldChg chg="del">
        <pc:chgData name="Tan, Vincent (Allianz SE Singapore Branch)" userId="bbbac036-7280-4bac-9c0d-a2e2069e1d29" providerId="ADAL" clId="{9705F007-7B00-4062-93A0-BA587561B57D}" dt="2021-07-14T05:40:48.526" v="6431" actId="47"/>
        <pc:sldMkLst>
          <pc:docMk/>
          <pc:sldMk cId="3824187325" sldId="308"/>
        </pc:sldMkLst>
      </pc:sldChg>
      <pc:sldChg chg="del">
        <pc:chgData name="Tan, Vincent (Allianz SE Singapore Branch)" userId="bbbac036-7280-4bac-9c0d-a2e2069e1d29" providerId="ADAL" clId="{9705F007-7B00-4062-93A0-BA587561B57D}" dt="2021-07-14T05:42:13.131" v="6451" actId="47"/>
        <pc:sldMkLst>
          <pc:docMk/>
          <pc:sldMk cId="2470038004" sldId="309"/>
        </pc:sldMkLst>
      </pc:sldChg>
      <pc:sldChg chg="del">
        <pc:chgData name="Tan, Vincent (Allianz SE Singapore Branch)" userId="bbbac036-7280-4bac-9c0d-a2e2069e1d29" providerId="ADAL" clId="{9705F007-7B00-4062-93A0-BA587561B57D}" dt="2021-07-14T05:42:49.126" v="6453" actId="47"/>
        <pc:sldMkLst>
          <pc:docMk/>
          <pc:sldMk cId="1313657605" sldId="310"/>
        </pc:sldMkLst>
      </pc:sldChg>
      <pc:sldChg chg="addSp delSp modSp del mod">
        <pc:chgData name="Tan, Vincent (Allianz SE Singapore Branch)" userId="bbbac036-7280-4bac-9c0d-a2e2069e1d29" providerId="ADAL" clId="{9705F007-7B00-4062-93A0-BA587561B57D}" dt="2021-07-13T15:02:20.331" v="145" actId="47"/>
        <pc:sldMkLst>
          <pc:docMk/>
          <pc:sldMk cId="1420497942" sldId="311"/>
        </pc:sldMkLst>
        <pc:spChg chg="add del mod">
          <ac:chgData name="Tan, Vincent (Allianz SE Singapore Branch)" userId="bbbac036-7280-4bac-9c0d-a2e2069e1d29" providerId="ADAL" clId="{9705F007-7B00-4062-93A0-BA587561B57D}" dt="2021-07-13T14:48:40.341" v="1" actId="478"/>
          <ac:spMkLst>
            <pc:docMk/>
            <pc:sldMk cId="1420497942" sldId="311"/>
            <ac:spMk id="3" creationId="{EF9600A6-2231-4724-A813-AEE36AF5B568}"/>
          </ac:spMkLst>
        </pc:spChg>
        <pc:spChg chg="mod">
          <ac:chgData name="Tan, Vincent (Allianz SE Singapore Branch)" userId="bbbac036-7280-4bac-9c0d-a2e2069e1d29" providerId="ADAL" clId="{9705F007-7B00-4062-93A0-BA587561B57D}" dt="2021-07-13T14:49:13.305" v="25" actId="6549"/>
          <ac:spMkLst>
            <pc:docMk/>
            <pc:sldMk cId="1420497942" sldId="311"/>
            <ac:spMk id="8" creationId="{7AD26D70-5616-4C05-9FA2-2E55246088AA}"/>
          </ac:spMkLst>
        </pc:spChg>
        <pc:picChg chg="del">
          <ac:chgData name="Tan, Vincent (Allianz SE Singapore Branch)" userId="bbbac036-7280-4bac-9c0d-a2e2069e1d29" providerId="ADAL" clId="{9705F007-7B00-4062-93A0-BA587561B57D}" dt="2021-07-13T14:48:37.968" v="0" actId="478"/>
          <ac:picMkLst>
            <pc:docMk/>
            <pc:sldMk cId="1420497942" sldId="311"/>
            <ac:picMk id="14" creationId="{4BECDE29-54E8-4DDD-9DED-9E4727A34164}"/>
          </ac:picMkLst>
        </pc:picChg>
      </pc:sldChg>
      <pc:sldChg chg="addSp delSp modSp mod">
        <pc:chgData name="Tan, Vincent (Allianz SE Singapore Branch)" userId="bbbac036-7280-4bac-9c0d-a2e2069e1d29" providerId="ADAL" clId="{9705F007-7B00-4062-93A0-BA587561B57D}" dt="2021-07-16T07:33:42.774" v="9798" actId="1076"/>
        <pc:sldMkLst>
          <pc:docMk/>
          <pc:sldMk cId="926684835" sldId="312"/>
        </pc:sldMkLst>
        <pc:spChg chg="mod">
          <ac:chgData name="Tan, Vincent (Allianz SE Singapore Branch)" userId="bbbac036-7280-4bac-9c0d-a2e2069e1d29" providerId="ADAL" clId="{9705F007-7B00-4062-93A0-BA587561B57D}" dt="2021-07-15T12:55:34.188" v="7756" actId="1035"/>
          <ac:spMkLst>
            <pc:docMk/>
            <pc:sldMk cId="926684835" sldId="312"/>
            <ac:spMk id="2" creationId="{F4D8679F-976F-4A87-93E4-373065C089FE}"/>
          </ac:spMkLst>
        </pc:spChg>
        <pc:spChg chg="del">
          <ac:chgData name="Tan, Vincent (Allianz SE Singapore Branch)" userId="bbbac036-7280-4bac-9c0d-a2e2069e1d29" providerId="ADAL" clId="{9705F007-7B00-4062-93A0-BA587561B57D}" dt="2021-07-14T00:34:41.144" v="1899" actId="478"/>
          <ac:spMkLst>
            <pc:docMk/>
            <pc:sldMk cId="926684835" sldId="312"/>
            <ac:spMk id="3" creationId="{C94925E4-128A-49A7-8194-5CCC29DCE6E2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7:33:23.299" v="9795" actId="1038"/>
          <ac:spMkLst>
            <pc:docMk/>
            <pc:sldMk cId="926684835" sldId="312"/>
            <ac:spMk id="3" creationId="{F62277AD-C0E8-4F71-9F6E-0FA3E88D338C}"/>
          </ac:spMkLst>
        </pc:spChg>
        <pc:spChg chg="mod">
          <ac:chgData name="Tan, Vincent (Allianz SE Singapore Branch)" userId="bbbac036-7280-4bac-9c0d-a2e2069e1d29" providerId="ADAL" clId="{9705F007-7B00-4062-93A0-BA587561B57D}" dt="2021-07-15T07:21:33.637" v="7542"/>
          <ac:spMkLst>
            <pc:docMk/>
            <pc:sldMk cId="926684835" sldId="312"/>
            <ac:spMk id="4" creationId="{814B6D59-FFDF-4351-9728-D397613729D0}"/>
          </ac:spMkLst>
        </pc:spChg>
        <pc:spChg chg="mod">
          <ac:chgData name="Tan, Vincent (Allianz SE Singapore Branch)" userId="bbbac036-7280-4bac-9c0d-a2e2069e1d29" providerId="ADAL" clId="{9705F007-7B00-4062-93A0-BA587561B57D}" dt="2021-07-15T12:55:34.188" v="7756" actId="1035"/>
          <ac:spMkLst>
            <pc:docMk/>
            <pc:sldMk cId="926684835" sldId="312"/>
            <ac:spMk id="5" creationId="{DC3D4F48-EF35-4172-A78A-C0FC95F07E3B}"/>
          </ac:spMkLst>
        </pc:spChg>
        <pc:spChg chg="mod">
          <ac:chgData name="Tan, Vincent (Allianz SE Singapore Branch)" userId="bbbac036-7280-4bac-9c0d-a2e2069e1d29" providerId="ADAL" clId="{9705F007-7B00-4062-93A0-BA587561B57D}" dt="2021-07-15T07:21:33.637" v="7542"/>
          <ac:spMkLst>
            <pc:docMk/>
            <pc:sldMk cId="926684835" sldId="312"/>
            <ac:spMk id="6" creationId="{837BBCA4-96E4-495B-A08D-F5269AA577E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11:21.597" v="710" actId="478"/>
          <ac:spMkLst>
            <pc:docMk/>
            <pc:sldMk cId="926684835" sldId="312"/>
            <ac:spMk id="7" creationId="{457FD235-3F54-4059-A22C-349AE2C2945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0:40.953" v="1810" actId="478"/>
          <ac:spMkLst>
            <pc:docMk/>
            <pc:sldMk cId="926684835" sldId="312"/>
            <ac:spMk id="9" creationId="{A164741F-8E9D-49C7-AD37-E5C709F08E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0:40.953" v="1810" actId="478"/>
          <ac:spMkLst>
            <pc:docMk/>
            <pc:sldMk cId="926684835" sldId="312"/>
            <ac:spMk id="10" creationId="{07FFD500-8CEC-45AD-8BB7-6F8782E7B10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3" creationId="{4932066C-E312-44F5-A339-45C826A9C2D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4" creationId="{A915C6E1-EE95-42E9-8FBB-D6124BBBA03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5" creationId="{5986C03F-088A-4749-99C5-81E24560FDE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6" creationId="{05337A54-CB8F-48B8-8BCA-5AE29723166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7" creationId="{B4977278-F462-43D5-B449-B44B2A1DD99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8" creationId="{12F4D761-8226-4EED-B9B9-C55F138DB058}"/>
          </ac:spMkLst>
        </pc:spChg>
        <pc:spChg chg="mod">
          <ac:chgData name="Tan, Vincent (Allianz SE Singapore Branch)" userId="bbbac036-7280-4bac-9c0d-a2e2069e1d29" providerId="ADAL" clId="{9705F007-7B00-4062-93A0-BA587561B57D}" dt="2021-07-16T07:32:15.316" v="9753"/>
          <ac:spMkLst>
            <pc:docMk/>
            <pc:sldMk cId="926684835" sldId="312"/>
            <ac:spMk id="18" creationId="{8CC99C1D-24B5-4628-9EC1-16DA8B329728}"/>
          </ac:spMkLst>
        </pc:spChg>
        <pc:spChg chg="mod">
          <ac:chgData name="Tan, Vincent (Allianz SE Singapore Branch)" userId="bbbac036-7280-4bac-9c0d-a2e2069e1d29" providerId="ADAL" clId="{9705F007-7B00-4062-93A0-BA587561B57D}" dt="2021-07-16T07:32:15.316" v="9753"/>
          <ac:spMkLst>
            <pc:docMk/>
            <pc:sldMk cId="926684835" sldId="312"/>
            <ac:spMk id="19" creationId="{0B1396FD-5035-46F2-B10E-FA0A654B774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19" creationId="{A1F7106A-DB6B-4B53-B3FB-636C3637DDA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36:10.236" v="1976" actId="478"/>
          <ac:spMkLst>
            <pc:docMk/>
            <pc:sldMk cId="926684835" sldId="312"/>
            <ac:spMk id="20" creationId="{F58DC27F-DA68-4E36-BB80-F8861FEFBEF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0:44:41.831" v="2067"/>
          <ac:spMkLst>
            <pc:docMk/>
            <pc:sldMk cId="926684835" sldId="312"/>
            <ac:spMk id="22" creationId="{26D672DD-1498-4536-B6E9-8C52437DA53C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2:57:38.831" v="7781" actId="14100"/>
          <ac:spMkLst>
            <pc:docMk/>
            <pc:sldMk cId="926684835" sldId="312"/>
            <ac:spMk id="24" creationId="{7FCEA900-A3F8-432D-80DB-F668933E9EE3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04:32.789" v="8005" actId="1035"/>
          <ac:spMkLst>
            <pc:docMk/>
            <pc:sldMk cId="926684835" sldId="312"/>
            <ac:spMk id="25" creationId="{7978A9CA-3C35-4851-8E79-1BD30F8F3FD6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04:39.962" v="8022" actId="1036"/>
          <ac:spMkLst>
            <pc:docMk/>
            <pc:sldMk cId="926684835" sldId="312"/>
            <ac:spMk id="26" creationId="{A902DE66-1160-45DE-BBBE-F48B33B2086C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04:52.896" v="8092" actId="1035"/>
          <ac:spMkLst>
            <pc:docMk/>
            <pc:sldMk cId="926684835" sldId="312"/>
            <ac:spMk id="27" creationId="{2BE1BA1F-8073-4656-867F-74A008435A11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05:02.192" v="8120" actId="1035"/>
          <ac:spMkLst>
            <pc:docMk/>
            <pc:sldMk cId="926684835" sldId="312"/>
            <ac:spMk id="28" creationId="{679C6DAF-98D2-4E04-BD15-00AB428B5053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7:33:42.774" v="9798" actId="1076"/>
          <ac:spMkLst>
            <pc:docMk/>
            <pc:sldMk cId="926684835" sldId="312"/>
            <ac:spMk id="29" creationId="{2D94D76F-C83E-4A27-9539-A410C09BA099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7:33:38.161" v="9797" actId="1076"/>
          <ac:spMkLst>
            <pc:docMk/>
            <pc:sldMk cId="926684835" sldId="312"/>
            <ac:spMk id="30" creationId="{CB972ED2-C12A-4A22-BC7E-82EACA8CBCE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7:31:28.903" v="9743" actId="1036"/>
          <ac:spMkLst>
            <pc:docMk/>
            <pc:sldMk cId="926684835" sldId="312"/>
            <ac:spMk id="31" creationId="{8CA8059D-F521-4BE9-BC94-5597BCB8DAC2}"/>
          </ac:spMkLst>
        </pc:spChg>
        <pc:grpChg chg="add del mod">
          <ac:chgData name="Tan, Vincent (Allianz SE Singapore Branch)" userId="bbbac036-7280-4bac-9c0d-a2e2069e1d29" providerId="ADAL" clId="{9705F007-7B00-4062-93A0-BA587561B57D}" dt="2021-07-16T07:32:31.768" v="9758" actId="478"/>
          <ac:grpSpMkLst>
            <pc:docMk/>
            <pc:sldMk cId="926684835" sldId="312"/>
            <ac:grpSpMk id="17" creationId="{9AF52E62-13BD-4DCE-8687-2159A3AFAC44}"/>
          </ac:grpSpMkLst>
        </pc:grpChg>
        <pc:graphicFrameChg chg="add del mod">
          <ac:chgData name="Tan, Vincent (Allianz SE Singapore Branch)" userId="bbbac036-7280-4bac-9c0d-a2e2069e1d29" providerId="ADAL" clId="{9705F007-7B00-4062-93A0-BA587561B57D}" dt="2021-07-14T00:30:40.953" v="1810" actId="478"/>
          <ac:graphicFrameMkLst>
            <pc:docMk/>
            <pc:sldMk cId="926684835" sldId="312"/>
            <ac:graphicFrameMk id="8" creationId="{701545FA-0DD0-4DBD-A556-553C9445767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0:30:40.953" v="1810" actId="478"/>
          <ac:graphicFrameMkLst>
            <pc:docMk/>
            <pc:sldMk cId="926684835" sldId="312"/>
            <ac:graphicFrameMk id="11" creationId="{1F05844E-8343-4F32-9A37-F0B8B502C46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7:32:26.041" v="9756" actId="1076"/>
          <ac:graphicFrameMkLst>
            <pc:docMk/>
            <pc:sldMk cId="926684835" sldId="312"/>
            <ac:graphicFrameMk id="12" creationId="{4972E448-E9CD-4EAC-ADE8-AF96BAF3B4F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25:27.027" v="9262" actId="1038"/>
          <ac:graphicFrameMkLst>
            <pc:docMk/>
            <pc:sldMk cId="926684835" sldId="312"/>
            <ac:graphicFrameMk id="21" creationId="{3FF5303E-B672-4C91-88FA-BE34D4EE5191}"/>
          </ac:graphicFrameMkLst>
        </pc:graphicFrameChg>
        <pc:graphicFrameChg chg="add mod ord modGraphic">
          <ac:chgData name="Tan, Vincent (Allianz SE Singapore Branch)" userId="bbbac036-7280-4bac-9c0d-a2e2069e1d29" providerId="ADAL" clId="{9705F007-7B00-4062-93A0-BA587561B57D}" dt="2021-07-15T14:25:45.570" v="9272" actId="1038"/>
          <ac:graphicFrameMkLst>
            <pc:docMk/>
            <pc:sldMk cId="926684835" sldId="312"/>
            <ac:graphicFrameMk id="23" creationId="{889417C5-91FD-460A-99A8-D9F37C0E2F3E}"/>
          </ac:graphicFrameMkLst>
        </pc:graphicFrameChg>
      </pc:sldChg>
      <pc:sldChg chg="addSp delSp modSp mod">
        <pc:chgData name="Tan, Vincent (Allianz SE Singapore Branch)" userId="bbbac036-7280-4bac-9c0d-a2e2069e1d29" providerId="ADAL" clId="{9705F007-7B00-4062-93A0-BA587561B57D}" dt="2021-07-16T07:43:08.184" v="9813" actId="20577"/>
        <pc:sldMkLst>
          <pc:docMk/>
          <pc:sldMk cId="2927084689" sldId="313"/>
        </pc:sldMkLst>
        <pc:spChg chg="del mod">
          <ac:chgData name="Tan, Vincent (Allianz SE Singapore Branch)" userId="bbbac036-7280-4bac-9c0d-a2e2069e1d29" providerId="ADAL" clId="{9705F007-7B00-4062-93A0-BA587561B57D}" dt="2021-07-15T13:21:09.044" v="8479" actId="478"/>
          <ac:spMkLst>
            <pc:docMk/>
            <pc:sldMk cId="2927084689" sldId="313"/>
            <ac:spMk id="5" creationId="{5990B510-2C92-4B48-BB51-5C5D8CD1730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23:33.335" v="4081"/>
          <ac:spMkLst>
            <pc:docMk/>
            <pc:sldMk cId="2927084689" sldId="313"/>
            <ac:spMk id="7" creationId="{8EC1475E-632E-453D-B966-09D61BC7FB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37:10.561" v="4431"/>
          <ac:spMkLst>
            <pc:docMk/>
            <pc:sldMk cId="2927084689" sldId="313"/>
            <ac:spMk id="8" creationId="{5D24114B-9226-4330-BBD5-D22A56204180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21:39.997" v="8562" actId="1035"/>
          <ac:spMkLst>
            <pc:docMk/>
            <pc:sldMk cId="2927084689" sldId="313"/>
            <ac:spMk id="9" creationId="{04035A73-03EB-4AAD-B67F-08A711353D1C}"/>
          </ac:spMkLst>
        </pc:spChg>
        <pc:spChg chg="del mod">
          <ac:chgData name="Tan, Vincent (Allianz SE Singapore Branch)" userId="bbbac036-7280-4bac-9c0d-a2e2069e1d29" providerId="ADAL" clId="{9705F007-7B00-4062-93A0-BA587561B57D}" dt="2021-07-15T13:20:37.764" v="8467" actId="478"/>
          <ac:spMkLst>
            <pc:docMk/>
            <pc:sldMk cId="2927084689" sldId="313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4T03:26:35.415" v="4098" actId="478"/>
          <ac:spMkLst>
            <pc:docMk/>
            <pc:sldMk cId="2927084689" sldId="313"/>
            <ac:spMk id="13" creationId="{3325801B-3C91-468F-BD6F-9CF3A16ED7BA}"/>
          </ac:spMkLst>
        </pc:spChg>
        <pc:spChg chg="del">
          <ac:chgData name="Tan, Vincent (Allianz SE Singapore Branch)" userId="bbbac036-7280-4bac-9c0d-a2e2069e1d29" providerId="ADAL" clId="{9705F007-7B00-4062-93A0-BA587561B57D}" dt="2021-07-14T03:26:35.415" v="4098" actId="478"/>
          <ac:spMkLst>
            <pc:docMk/>
            <pc:sldMk cId="2927084689" sldId="313"/>
            <ac:spMk id="15" creationId="{D1D32995-D1EE-4E32-A7DD-0E4275D41C76}"/>
          </ac:spMkLst>
        </pc:spChg>
        <pc:spChg chg="mod">
          <ac:chgData name="Tan, Vincent (Allianz SE Singapore Branch)" userId="bbbac036-7280-4bac-9c0d-a2e2069e1d29" providerId="ADAL" clId="{9705F007-7B00-4062-93A0-BA587561B57D}" dt="2021-07-14T03:27:09.553" v="4100"/>
          <ac:spMkLst>
            <pc:docMk/>
            <pc:sldMk cId="2927084689" sldId="313"/>
            <ac:spMk id="16" creationId="{71DC7FEA-0926-4813-AA9D-332E3CD7C915}"/>
          </ac:spMkLst>
        </pc:spChg>
        <pc:spChg chg="mod">
          <ac:chgData name="Tan, Vincent (Allianz SE Singapore Branch)" userId="bbbac036-7280-4bac-9c0d-a2e2069e1d29" providerId="ADAL" clId="{9705F007-7B00-4062-93A0-BA587561B57D}" dt="2021-07-14T03:27:09.553" v="4100"/>
          <ac:spMkLst>
            <pc:docMk/>
            <pc:sldMk cId="2927084689" sldId="313"/>
            <ac:spMk id="17" creationId="{9D170523-EAF2-47DC-B951-6D6DB980FBB7}"/>
          </ac:spMkLst>
        </pc:spChg>
        <pc:spChg chg="mod">
          <ac:chgData name="Tan, Vincent (Allianz SE Singapore Branch)" userId="bbbac036-7280-4bac-9c0d-a2e2069e1d29" providerId="ADAL" clId="{9705F007-7B00-4062-93A0-BA587561B57D}" dt="2021-07-14T03:27:09.553" v="4100"/>
          <ac:spMkLst>
            <pc:docMk/>
            <pc:sldMk cId="2927084689" sldId="313"/>
            <ac:spMk id="18" creationId="{E5CC2136-080B-4DF9-9619-BF8A83EFF69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21:25.459" v="8481" actId="478"/>
          <ac:spMkLst>
            <pc:docMk/>
            <pc:sldMk cId="2927084689" sldId="313"/>
            <ac:spMk id="19" creationId="{9EE7E55D-2F5E-4B4B-A3A2-C4E64642A97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48:50.524" v="4747" actId="14100"/>
          <ac:spMkLst>
            <pc:docMk/>
            <pc:sldMk cId="2927084689" sldId="313"/>
            <ac:spMk id="24" creationId="{6ACE946A-C690-470E-90BC-F681CFBF24D3}"/>
          </ac:spMkLst>
        </pc:spChg>
        <pc:spChg chg="mod">
          <ac:chgData name="Tan, Vincent (Allianz SE Singapore Branch)" userId="bbbac036-7280-4bac-9c0d-a2e2069e1d29" providerId="ADAL" clId="{9705F007-7B00-4062-93A0-BA587561B57D}" dt="2021-07-14T03:31:48.653" v="4224"/>
          <ac:spMkLst>
            <pc:docMk/>
            <pc:sldMk cId="2927084689" sldId="313"/>
            <ac:spMk id="26" creationId="{E6F489E1-FBD3-42B0-8E68-0AA8D652E111}"/>
          </ac:spMkLst>
        </pc:spChg>
        <pc:spChg chg="mod">
          <ac:chgData name="Tan, Vincent (Allianz SE Singapore Branch)" userId="bbbac036-7280-4bac-9c0d-a2e2069e1d29" providerId="ADAL" clId="{9705F007-7B00-4062-93A0-BA587561B57D}" dt="2021-07-14T03:31:48.653" v="4224"/>
          <ac:spMkLst>
            <pc:docMk/>
            <pc:sldMk cId="2927084689" sldId="313"/>
            <ac:spMk id="27" creationId="{565C397C-0A4D-4667-A75D-9A50D40B1F09}"/>
          </ac:spMkLst>
        </pc:spChg>
        <pc:spChg chg="mod">
          <ac:chgData name="Tan, Vincent (Allianz SE Singapore Branch)" userId="bbbac036-7280-4bac-9c0d-a2e2069e1d29" providerId="ADAL" clId="{9705F007-7B00-4062-93A0-BA587561B57D}" dt="2021-07-14T03:31:48.653" v="4224"/>
          <ac:spMkLst>
            <pc:docMk/>
            <pc:sldMk cId="2927084689" sldId="313"/>
            <ac:spMk id="28" creationId="{07B0D0CF-B644-46C1-9F2C-2CD7B714840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40:08.281" v="4573" actId="478"/>
          <ac:spMkLst>
            <pc:docMk/>
            <pc:sldMk cId="2927084689" sldId="313"/>
            <ac:spMk id="29" creationId="{1975FB48-3579-4203-A51D-9C7A280D553A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20:57.739" v="8478"/>
          <ac:spMkLst>
            <pc:docMk/>
            <pc:sldMk cId="2927084689" sldId="313"/>
            <ac:spMk id="29" creationId="{C3D4C3F4-574E-452E-A420-BAAF269E0EE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20:51.610" v="8477" actId="20577"/>
          <ac:spMkLst>
            <pc:docMk/>
            <pc:sldMk cId="2927084689" sldId="313"/>
            <ac:spMk id="30" creationId="{3C0D5F2C-5910-41CF-8B92-CC90494A331D}"/>
          </ac:spMkLst>
        </pc:spChg>
        <pc:spChg chg="mod">
          <ac:chgData name="Tan, Vincent (Allianz SE Singapore Branch)" userId="bbbac036-7280-4bac-9c0d-a2e2069e1d29" providerId="ADAL" clId="{9705F007-7B00-4062-93A0-BA587561B57D}" dt="2021-07-14T03:32:33.682" v="4228"/>
          <ac:spMkLst>
            <pc:docMk/>
            <pc:sldMk cId="2927084689" sldId="313"/>
            <ac:spMk id="31" creationId="{BEA24942-47C5-4C2E-BB28-08B19DE5804F}"/>
          </ac:spMkLst>
        </pc:spChg>
        <pc:spChg chg="mod">
          <ac:chgData name="Tan, Vincent (Allianz SE Singapore Branch)" userId="bbbac036-7280-4bac-9c0d-a2e2069e1d29" providerId="ADAL" clId="{9705F007-7B00-4062-93A0-BA587561B57D}" dt="2021-07-14T03:32:33.682" v="4228"/>
          <ac:spMkLst>
            <pc:docMk/>
            <pc:sldMk cId="2927084689" sldId="313"/>
            <ac:spMk id="32" creationId="{F50A28D1-5C9C-4DE6-A7D8-075A235B1E36}"/>
          </ac:spMkLst>
        </pc:spChg>
        <pc:spChg chg="mod">
          <ac:chgData name="Tan, Vincent (Allianz SE Singapore Branch)" userId="bbbac036-7280-4bac-9c0d-a2e2069e1d29" providerId="ADAL" clId="{9705F007-7B00-4062-93A0-BA587561B57D}" dt="2021-07-14T03:33:17.430" v="4279"/>
          <ac:spMkLst>
            <pc:docMk/>
            <pc:sldMk cId="2927084689" sldId="313"/>
            <ac:spMk id="34" creationId="{F22E8756-4DA6-49B6-9281-3FCDCC75B1E8}"/>
          </ac:spMkLst>
        </pc:spChg>
        <pc:spChg chg="mod">
          <ac:chgData name="Tan, Vincent (Allianz SE Singapore Branch)" userId="bbbac036-7280-4bac-9c0d-a2e2069e1d29" providerId="ADAL" clId="{9705F007-7B00-4062-93A0-BA587561B57D}" dt="2021-07-14T03:33:17.430" v="4279"/>
          <ac:spMkLst>
            <pc:docMk/>
            <pc:sldMk cId="2927084689" sldId="313"/>
            <ac:spMk id="35" creationId="{9B332146-192B-438D-940F-F48671F54C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2:02:33.851" v="7665" actId="478"/>
          <ac:spMkLst>
            <pc:docMk/>
            <pc:sldMk cId="2927084689" sldId="313"/>
            <ac:spMk id="36" creationId="{EFD68281-062F-42E5-AAD5-F6CADCDBF014}"/>
          </ac:spMkLst>
        </pc:spChg>
        <pc:grpChg chg="add del mod">
          <ac:chgData name="Tan, Vincent (Allianz SE Singapore Branch)" userId="bbbac036-7280-4bac-9c0d-a2e2069e1d29" providerId="ADAL" clId="{9705F007-7B00-4062-93A0-BA587561B57D}" dt="2021-07-15T13:21:25.459" v="8481" actId="478"/>
          <ac:grpSpMkLst>
            <pc:docMk/>
            <pc:sldMk cId="2927084689" sldId="313"/>
            <ac:grpSpMk id="14" creationId="{9F877177-3F70-427C-8586-BE46BD21CE25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26:37.921" v="8628" actId="478"/>
          <ac:grpSpMkLst>
            <pc:docMk/>
            <pc:sldMk cId="2927084689" sldId="313"/>
            <ac:grpSpMk id="21" creationId="{3C52AD34-77F6-4695-B8C1-0D9F34F122DB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4T03:31:48.653" v="4224"/>
          <ac:grpSpMkLst>
            <pc:docMk/>
            <pc:sldMk cId="2927084689" sldId="313"/>
            <ac:grpSpMk id="25" creationId="{FBA2A8C7-633B-4B9F-814E-534AB8B33BB8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3:33:17.060" v="4278" actId="478"/>
          <ac:grpSpMkLst>
            <pc:docMk/>
            <pc:sldMk cId="2927084689" sldId="313"/>
            <ac:grpSpMk id="30" creationId="{C542B01B-56B3-4BBB-A5DA-8268F8111D5A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3:21:39.997" v="8562" actId="1035"/>
          <ac:grpSpMkLst>
            <pc:docMk/>
            <pc:sldMk cId="2927084689" sldId="313"/>
            <ac:grpSpMk id="33" creationId="{7562B530-5401-4134-8A72-A9DEBC55E800}"/>
          </ac:grpSpMkLst>
        </pc:grpChg>
        <pc:graphicFrameChg chg="add del mod modGraphic">
          <ac:chgData name="Tan, Vincent (Allianz SE Singapore Branch)" userId="bbbac036-7280-4bac-9c0d-a2e2069e1d29" providerId="ADAL" clId="{9705F007-7B00-4062-93A0-BA587561B57D}" dt="2021-07-14T03:30:47.005" v="4177" actId="478"/>
          <ac:graphicFrameMkLst>
            <pc:docMk/>
            <pc:sldMk cId="2927084689" sldId="313"/>
            <ac:graphicFrameMk id="12" creationId="{2E5B3952-B684-4DEF-8A9A-8A3E00E3A69F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7:43:08.184" v="9813" actId="20577"/>
          <ac:graphicFrameMkLst>
            <pc:docMk/>
            <pc:sldMk cId="2927084689" sldId="313"/>
            <ac:graphicFrameMk id="20" creationId="{49D53C52-A63D-4072-8862-98D5841FBB35}"/>
          </ac:graphicFrameMkLst>
        </pc:graphicFrameChg>
        <pc:picChg chg="add del mod">
          <ac:chgData name="Tan, Vincent (Allianz SE Singapore Branch)" userId="bbbac036-7280-4bac-9c0d-a2e2069e1d29" providerId="ADAL" clId="{9705F007-7B00-4062-93A0-BA587561B57D}" dt="2021-07-15T13:28:44.680" v="8641" actId="478"/>
          <ac:picMkLst>
            <pc:docMk/>
            <pc:sldMk cId="2927084689" sldId="313"/>
            <ac:picMk id="2" creationId="{99893F39-25B6-4F97-A08B-59A9E97C72A0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5T13:29:26.464" v="8643" actId="478"/>
          <ac:picMkLst>
            <pc:docMk/>
            <pc:sldMk cId="2927084689" sldId="313"/>
            <ac:picMk id="3" creationId="{A08DCA25-B58F-4486-92C5-CF0346266DE7}"/>
          </ac:picMkLst>
        </pc:picChg>
        <pc:picChg chg="add mod ord">
          <ac:chgData name="Tan, Vincent (Allianz SE Singapore Branch)" userId="bbbac036-7280-4bac-9c0d-a2e2069e1d29" providerId="ADAL" clId="{9705F007-7B00-4062-93A0-BA587561B57D}" dt="2021-07-15T13:35:55.758" v="8702" actId="14100"/>
          <ac:picMkLst>
            <pc:docMk/>
            <pc:sldMk cId="2927084689" sldId="313"/>
            <ac:picMk id="7" creationId="{3E7C16CF-867D-42DB-B6F4-17470E22E51A}"/>
          </ac:picMkLst>
        </pc:picChg>
        <pc:picChg chg="mod">
          <ac:chgData name="Tan, Vincent (Allianz SE Singapore Branch)" userId="bbbac036-7280-4bac-9c0d-a2e2069e1d29" providerId="ADAL" clId="{9705F007-7B00-4062-93A0-BA587561B57D}" dt="2021-07-14T03:31:04.700" v="4179"/>
          <ac:picMkLst>
            <pc:docMk/>
            <pc:sldMk cId="2927084689" sldId="313"/>
            <ac:picMk id="22" creationId="{49E961BC-CA1F-4AE5-B10E-79128659942D}"/>
          </ac:picMkLst>
        </pc:picChg>
        <pc:picChg chg="mod">
          <ac:chgData name="Tan, Vincent (Allianz SE Singapore Branch)" userId="bbbac036-7280-4bac-9c0d-a2e2069e1d29" providerId="ADAL" clId="{9705F007-7B00-4062-93A0-BA587561B57D}" dt="2021-07-14T03:31:04.700" v="4179"/>
          <ac:picMkLst>
            <pc:docMk/>
            <pc:sldMk cId="2927084689" sldId="313"/>
            <ac:picMk id="23" creationId="{8F115118-8F56-43E0-B3D9-A304F49D2A50}"/>
          </ac:picMkLst>
        </pc:picChg>
        <pc:picChg chg="add mod ord">
          <ac:chgData name="Tan, Vincent (Allianz SE Singapore Branch)" userId="bbbac036-7280-4bac-9c0d-a2e2069e1d29" providerId="ADAL" clId="{9705F007-7B00-4062-93A0-BA587561B57D}" dt="2021-07-15T13:29:53.670" v="8648" actId="1076"/>
          <ac:picMkLst>
            <pc:docMk/>
            <pc:sldMk cId="2927084689" sldId="313"/>
            <ac:picMk id="31" creationId="{EAC146F8-AFBD-4DAA-84C9-CA4BDE0401BB}"/>
          </ac:picMkLst>
        </pc:picChg>
      </pc:sldChg>
      <pc:sldChg chg="del ord">
        <pc:chgData name="Tan, Vincent (Allianz SE Singapore Branch)" userId="bbbac036-7280-4bac-9c0d-a2e2069e1d29" providerId="ADAL" clId="{9705F007-7B00-4062-93A0-BA587561B57D}" dt="2021-07-14T05:40:42.631" v="6425" actId="47"/>
        <pc:sldMkLst>
          <pc:docMk/>
          <pc:sldMk cId="4193015577" sldId="314"/>
        </pc:sldMkLst>
      </pc:sldChg>
      <pc:sldChg chg="del">
        <pc:chgData name="Tan, Vincent (Allianz SE Singapore Branch)" userId="bbbac036-7280-4bac-9c0d-a2e2069e1d29" providerId="ADAL" clId="{9705F007-7B00-4062-93A0-BA587561B57D}" dt="2021-07-14T05:40:46.623" v="6428" actId="47"/>
        <pc:sldMkLst>
          <pc:docMk/>
          <pc:sldMk cId="3768721886" sldId="315"/>
        </pc:sldMkLst>
      </pc:sldChg>
      <pc:sldChg chg="modSp del mod">
        <pc:chgData name="Tan, Vincent (Allianz SE Singapore Branch)" userId="bbbac036-7280-4bac-9c0d-a2e2069e1d29" providerId="ADAL" clId="{9705F007-7B00-4062-93A0-BA587561B57D}" dt="2021-07-14T05:40:43.332" v="6426" actId="47"/>
        <pc:sldMkLst>
          <pc:docMk/>
          <pc:sldMk cId="537360823" sldId="316"/>
        </pc:sldMkLst>
        <pc:spChg chg="mod">
          <ac:chgData name="Tan, Vincent (Allianz SE Singapore Branch)" userId="bbbac036-7280-4bac-9c0d-a2e2069e1d29" providerId="ADAL" clId="{9705F007-7B00-4062-93A0-BA587561B57D}" dt="2021-07-13T21:42:49.544" v="181" actId="20577"/>
          <ac:spMkLst>
            <pc:docMk/>
            <pc:sldMk cId="537360823" sldId="316"/>
            <ac:spMk id="2" creationId="{962DF963-AC8E-4F65-AFCB-294208E3E998}"/>
          </ac:spMkLst>
        </pc:spChg>
      </pc:sldChg>
      <pc:sldChg chg="del">
        <pc:chgData name="Tan, Vincent (Allianz SE Singapore Branch)" userId="bbbac036-7280-4bac-9c0d-a2e2069e1d29" providerId="ADAL" clId="{9705F007-7B00-4062-93A0-BA587561B57D}" dt="2021-07-14T05:40:44.906" v="6427" actId="47"/>
        <pc:sldMkLst>
          <pc:docMk/>
          <pc:sldMk cId="2341880919" sldId="317"/>
        </pc:sldMkLst>
      </pc:sldChg>
      <pc:sldChg chg="addSp delSp modSp add mod">
        <pc:chgData name="Tan, Vincent (Allianz SE Singapore Branch)" userId="bbbac036-7280-4bac-9c0d-a2e2069e1d29" providerId="ADAL" clId="{9705F007-7B00-4062-93A0-BA587561B57D}" dt="2021-07-18T12:44:11.189" v="10296" actId="20577"/>
        <pc:sldMkLst>
          <pc:docMk/>
          <pc:sldMk cId="1982439851" sldId="318"/>
        </pc:sldMkLst>
        <pc:spChg chg="add del mod">
          <ac:chgData name="Tan, Vincent (Allianz SE Singapore Branch)" userId="bbbac036-7280-4bac-9c0d-a2e2069e1d29" providerId="ADAL" clId="{9705F007-7B00-4062-93A0-BA587561B57D}" dt="2021-07-13T14:56:17.438" v="59" actId="478"/>
          <ac:spMkLst>
            <pc:docMk/>
            <pc:sldMk cId="1982439851" sldId="318"/>
            <ac:spMk id="3" creationId="{C67B7361-C3E0-4171-9AEA-298F8579B17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0:14.733" v="539" actId="1035"/>
          <ac:spMkLst>
            <pc:docMk/>
            <pc:sldMk cId="1982439851" sldId="318"/>
            <ac:spMk id="4" creationId="{45CF8AED-5393-4FC0-AAA4-93A51DBF2EA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1:38:47.255" v="168"/>
          <ac:spMkLst>
            <pc:docMk/>
            <pc:sldMk cId="1982439851" sldId="318"/>
            <ac:spMk id="5" creationId="{A101C74F-A2BA-48F5-985B-2887030CFEC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14:51:56.997" v="55" actId="478"/>
          <ac:spMkLst>
            <pc:docMk/>
            <pc:sldMk cId="1982439851" sldId="318"/>
            <ac:spMk id="6" creationId="{0FA04A27-2DCB-4E2E-AED9-A307A66B1BF0}"/>
          </ac:spMkLst>
        </pc:spChg>
        <pc:spChg chg="mod">
          <ac:chgData name="Tan, Vincent (Allianz SE Singapore Branch)" userId="bbbac036-7280-4bac-9c0d-a2e2069e1d29" providerId="ADAL" clId="{9705F007-7B00-4062-93A0-BA587561B57D}" dt="2021-07-13T22:00:20.134" v="540" actId="14100"/>
          <ac:spMkLst>
            <pc:docMk/>
            <pc:sldMk cId="1982439851" sldId="318"/>
            <ac:spMk id="8" creationId="{7AD26D70-5616-4C05-9FA2-2E55246088AA}"/>
          </ac:spMkLst>
        </pc:spChg>
        <pc:spChg chg="del mod">
          <ac:chgData name="Tan, Vincent (Allianz SE Singapore Branch)" userId="bbbac036-7280-4bac-9c0d-a2e2069e1d29" providerId="ADAL" clId="{9705F007-7B00-4062-93A0-BA587561B57D}" dt="2021-07-13T14:56:14.535" v="58" actId="478"/>
          <ac:spMkLst>
            <pc:docMk/>
            <pc:sldMk cId="1982439851" sldId="318"/>
            <ac:spMk id="9" creationId="{D57B8FD9-B4C3-47DC-BF32-3A803969BCB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14:56:40.105" v="60" actId="478"/>
          <ac:spMkLst>
            <pc:docMk/>
            <pc:sldMk cId="1982439851" sldId="318"/>
            <ac:spMk id="10" creationId="{E2A4782A-4358-443B-A5D7-807475576363}"/>
          </ac:spMkLst>
        </pc:spChg>
        <pc:spChg chg="mod">
          <ac:chgData name="Tan, Vincent (Allianz SE Singapore Branch)" userId="bbbac036-7280-4bac-9c0d-a2e2069e1d29" providerId="ADAL" clId="{9705F007-7B00-4062-93A0-BA587561B57D}" dt="2021-07-13T21:57:35.175" v="422" actId="1035"/>
          <ac:spMkLst>
            <pc:docMk/>
            <pc:sldMk cId="1982439851" sldId="318"/>
            <ac:spMk id="11" creationId="{0640EE29-55AD-44B8-8A13-3651BA1F87F0}"/>
          </ac:spMkLst>
        </pc:spChg>
        <pc:spChg chg="mod">
          <ac:chgData name="Tan, Vincent (Allianz SE Singapore Branch)" userId="bbbac036-7280-4bac-9c0d-a2e2069e1d29" providerId="ADAL" clId="{9705F007-7B00-4062-93A0-BA587561B57D}" dt="2021-07-18T12:44:11.189" v="10296" actId="20577"/>
          <ac:spMkLst>
            <pc:docMk/>
            <pc:sldMk cId="1982439851" sldId="318"/>
            <ac:spMk id="12" creationId="{D7288FB4-8D6E-4564-A0F7-0020F4D3B75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14:56:40.105" v="60" actId="478"/>
          <ac:spMkLst>
            <pc:docMk/>
            <pc:sldMk cId="1982439851" sldId="318"/>
            <ac:spMk id="13" creationId="{9C07D8E1-352A-4256-968C-8476C0600E05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1:59:56.854" v="509" actId="1035"/>
          <ac:spMkLst>
            <pc:docMk/>
            <pc:sldMk cId="1982439851" sldId="318"/>
            <ac:spMk id="15" creationId="{8EF80401-C920-4C37-808E-C54824189C91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47:07.728" v="4737" actId="207"/>
          <ac:spMkLst>
            <pc:docMk/>
            <pc:sldMk cId="1982439851" sldId="318"/>
            <ac:spMk id="16" creationId="{F26E6F7E-F168-4D1A-8975-A707DB2C8561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1:52:09.029" v="278" actId="1038"/>
          <ac:spMkLst>
            <pc:docMk/>
            <pc:sldMk cId="1982439851" sldId="318"/>
            <ac:spMk id="17" creationId="{1707355A-6618-4E75-8F5C-06A0AE1C1B2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1:40:07.228" v="175"/>
          <ac:spMkLst>
            <pc:docMk/>
            <pc:sldMk cId="1982439851" sldId="318"/>
            <ac:spMk id="18" creationId="{491D1452-53B2-4C7B-A6A2-24D4102B28A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1:40:07.228" v="175"/>
          <ac:spMkLst>
            <pc:docMk/>
            <pc:sldMk cId="1982439851" sldId="318"/>
            <ac:spMk id="19" creationId="{1A03BF9F-6988-4B08-8134-3D1FADF5BCD6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1:54:20.375" v="343" actId="1035"/>
          <ac:spMkLst>
            <pc:docMk/>
            <pc:sldMk cId="1982439851" sldId="318"/>
            <ac:spMk id="24" creationId="{DF317525-83B9-41CB-B165-97244BA1F61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7:13:51.488" v="9701" actId="478"/>
          <ac:spMkLst>
            <pc:docMk/>
            <pc:sldMk cId="1982439851" sldId="318"/>
            <ac:spMk id="25" creationId="{EC60560E-ABA6-4141-81A0-C3B47052FFC0}"/>
          </ac:spMkLst>
        </pc:spChg>
        <pc:graphicFrameChg chg="add del mod">
          <ac:chgData name="Tan, Vincent (Allianz SE Singapore Branch)" userId="bbbac036-7280-4bac-9c0d-a2e2069e1d29" providerId="ADAL" clId="{9705F007-7B00-4062-93A0-BA587561B57D}" dt="2021-07-13T14:56:40.105" v="60" actId="478"/>
          <ac:graphicFrameMkLst>
            <pc:docMk/>
            <pc:sldMk cId="1982439851" sldId="318"/>
            <ac:graphicFrameMk id="7" creationId="{B3DDCBE9-0B84-4086-A62B-0E2E5C44C69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14:56:40.105" v="60" actId="478"/>
          <ac:graphicFrameMkLst>
            <pc:docMk/>
            <pc:sldMk cId="1982439851" sldId="318"/>
            <ac:graphicFrameMk id="14" creationId="{1DC13E94-9F92-4B2D-BA9F-3A1476B7FBD0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8T12:39:32.594" v="10276" actId="20577"/>
          <ac:graphicFrameMkLst>
            <pc:docMk/>
            <pc:sldMk cId="1982439851" sldId="318"/>
            <ac:graphicFrameMk id="20" creationId="{9B111535-4B7A-4A78-9402-4CCFD724CA2E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7:55:51.039" v="9912" actId="20577"/>
          <ac:graphicFrameMkLst>
            <pc:docMk/>
            <pc:sldMk cId="1982439851" sldId="318"/>
            <ac:graphicFrameMk id="21" creationId="{216AF967-7889-4F84-B97B-043765EB34C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3T21:59:56.854" v="509" actId="1035"/>
          <ac:graphicFrameMkLst>
            <pc:docMk/>
            <pc:sldMk cId="1982439851" sldId="318"/>
            <ac:graphicFrameMk id="22" creationId="{CA5FB8D3-F128-43E7-B19A-A98AE64EB61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1:53:28.716" v="282"/>
          <ac:graphicFrameMkLst>
            <pc:docMk/>
            <pc:sldMk cId="1982439851" sldId="318"/>
            <ac:graphicFrameMk id="23" creationId="{2BD1FC9B-3D06-4675-B967-227D894509A3}"/>
          </ac:graphicFrameMkLst>
        </pc:graphicFrameChg>
      </pc:sldChg>
      <pc:sldChg chg="new del">
        <pc:chgData name="Tan, Vincent (Allianz SE Singapore Branch)" userId="bbbac036-7280-4bac-9c0d-a2e2069e1d29" providerId="ADAL" clId="{9705F007-7B00-4062-93A0-BA587561B57D}" dt="2021-07-13T22:04:46.124" v="601" actId="47"/>
        <pc:sldMkLst>
          <pc:docMk/>
          <pc:sldMk cId="826808364" sldId="319"/>
        </pc:sldMkLst>
      </pc:sldChg>
      <pc:sldChg chg="addSp delSp modSp new del mod modClrScheme chgLayout">
        <pc:chgData name="Tan, Vincent (Allianz SE Singapore Branch)" userId="bbbac036-7280-4bac-9c0d-a2e2069e1d29" providerId="ADAL" clId="{9705F007-7B00-4062-93A0-BA587561B57D}" dt="2021-07-13T22:18:21.715" v="795" actId="47"/>
        <pc:sldMkLst>
          <pc:docMk/>
          <pc:sldMk cId="3170010938" sldId="319"/>
        </pc:sldMkLst>
        <pc:spChg chg="del">
          <ac:chgData name="Tan, Vincent (Allianz SE Singapore Branch)" userId="bbbac036-7280-4bac-9c0d-a2e2069e1d29" providerId="ADAL" clId="{9705F007-7B00-4062-93A0-BA587561B57D}" dt="2021-07-13T22:05:20.147" v="603"/>
          <ac:spMkLst>
            <pc:docMk/>
            <pc:sldMk cId="3170010938" sldId="319"/>
            <ac:spMk id="2" creationId="{B9B6F4B1-817B-453B-BF15-162DD16DA469}"/>
          </ac:spMkLst>
        </pc:spChg>
        <pc:spChg chg="del">
          <ac:chgData name="Tan, Vincent (Allianz SE Singapore Branch)" userId="bbbac036-7280-4bac-9c0d-a2e2069e1d29" providerId="ADAL" clId="{9705F007-7B00-4062-93A0-BA587561B57D}" dt="2021-07-13T22:05:20.147" v="603"/>
          <ac:spMkLst>
            <pc:docMk/>
            <pc:sldMk cId="3170010938" sldId="319"/>
            <ac:spMk id="3" creationId="{664A6017-CD02-497E-800F-F757CF09D8D9}"/>
          </ac:spMkLst>
        </pc:spChg>
        <pc:spChg chg="mod">
          <ac:chgData name="Tan, Vincent (Allianz SE Singapore Branch)" userId="bbbac036-7280-4bac-9c0d-a2e2069e1d29" providerId="ADAL" clId="{9705F007-7B00-4062-93A0-BA587561B57D}" dt="2021-07-13T22:06:33.331" v="650" actId="1035"/>
          <ac:spMkLst>
            <pc:docMk/>
            <pc:sldMk cId="3170010938" sldId="319"/>
            <ac:spMk id="4" creationId="{F4D09352-99E9-45EC-A663-90017652F224}"/>
          </ac:spMkLst>
        </pc:spChg>
        <pc:spChg chg="mod">
          <ac:chgData name="Tan, Vincent (Allianz SE Singapore Branch)" userId="bbbac036-7280-4bac-9c0d-a2e2069e1d29" providerId="ADAL" clId="{9705F007-7B00-4062-93A0-BA587561B57D}" dt="2021-07-13T22:05:56.098" v="635" actId="20577"/>
          <ac:spMkLst>
            <pc:docMk/>
            <pc:sldMk cId="3170010938" sldId="319"/>
            <ac:spMk id="5" creationId="{C19B59CA-AAAA-487F-A138-C984DEDA9118}"/>
          </ac:spMkLst>
        </pc:spChg>
        <pc:spChg chg="mod or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6" creationId="{7AC3A2B8-885C-41A1-8DBF-79164BFDC4C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05:36.814" v="614" actId="26606"/>
          <ac:spMkLst>
            <pc:docMk/>
            <pc:sldMk cId="3170010938" sldId="319"/>
            <ac:spMk id="7" creationId="{BD514D89-989E-46BD-A5BA-13BABE8EBA3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05:36.814" v="614" actId="26606"/>
          <ac:spMkLst>
            <pc:docMk/>
            <pc:sldMk cId="3170010938" sldId="319"/>
            <ac:spMk id="8" creationId="{576D15EE-3450-46B7-B085-A723EB252F5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6:56.917" v="692" actId="20577"/>
          <ac:spMkLst>
            <pc:docMk/>
            <pc:sldMk cId="3170010938" sldId="319"/>
            <ac:spMk id="12" creationId="{698CDDAA-B110-408F-9595-EE8A5EA406E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05:26.240" v="605" actId="26606"/>
          <ac:spMkLst>
            <pc:docMk/>
            <pc:sldMk cId="3170010938" sldId="319"/>
            <ac:spMk id="13" creationId="{0AE9CF91-705A-4F67-85C5-1E7509FC76BF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14" creationId="{29410EFD-8073-4712-A0FD-48143B37AB1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05:26.240" v="605" actId="26606"/>
          <ac:spMkLst>
            <pc:docMk/>
            <pc:sldMk cId="3170010938" sldId="319"/>
            <ac:spMk id="15" creationId="{AC732776-F9DA-4A20-B1DA-CE244F2DA8A6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11:35.020" v="711" actId="14100"/>
          <ac:spMkLst>
            <pc:docMk/>
            <pc:sldMk cId="3170010938" sldId="319"/>
            <ac:spMk id="16" creationId="{BD617515-3945-4456-A191-F5D85B3FB57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05:28.594" v="607" actId="26606"/>
          <ac:spMkLst>
            <pc:docMk/>
            <pc:sldMk cId="3170010938" sldId="319"/>
            <ac:spMk id="17" creationId="{7AC32F4E-46BE-4A58-9352-961F8311CBD4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19" creationId="{F4087894-8D5C-4381-A609-BD2AF58F3448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0" creationId="{584C6912-24B4-4DCB-ADD4-CC0F3829D700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1" creationId="{3E5A44E9-F844-434C-A75B-E9A83AAFEA1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2" creationId="{A2CF1BB5-7EE6-4F79-9CC4-C074BCDBB293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3" creationId="{5D076227-C3DD-4595-94A5-3826872EB44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4" creationId="{90999E45-B73E-49AF-BB48-FCEDFC46CC0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5" creationId="{096554F4-E5BB-4DBA-802B-688EF8F603AC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6:46.699" v="684" actId="1037"/>
          <ac:spMkLst>
            <pc:docMk/>
            <pc:sldMk cId="3170010938" sldId="319"/>
            <ac:spMk id="26" creationId="{51593EBD-F732-4DE9-8337-BFD3841CB0BA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7" creationId="{33F331D0-718A-4362-A2AE-8CFBAF8ECB18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8" creationId="{60448E92-97B2-4E73-B4F0-69ED5565C6AB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29" creationId="{3A1921E2-48DB-4135-9556-D555B59AA623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0" creationId="{CD71670F-D53E-4265-AE81-24D67C05A137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1" creationId="{6963C6B3-0FF9-466A-B436-432D0E922AA0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2" creationId="{23852CA0-8849-4FBF-AFC9-1E204A6F9DE8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3" creationId="{5D1200B0-F59A-4AF7-AC20-68D7ED2E0B79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4" creationId="{B583298B-4DB1-4B6C-82B0-6757164616CF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6" creationId="{9135500D-9240-425C-9F97-10B6A8E3D461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7" creationId="{4D04E657-9671-420C-8630-F8349496F0EF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09:43.273" v="703" actId="1076"/>
          <ac:spMkLst>
            <pc:docMk/>
            <pc:sldMk cId="3170010938" sldId="319"/>
            <ac:spMk id="38" creationId="{DB0511BC-A8FF-4E79-8D87-3E345E4A62DF}"/>
          </ac:spMkLst>
        </pc:spChg>
        <pc:graphicFrameChg chg="add mod modGraphic">
          <ac:chgData name="Tan, Vincent (Allianz SE Singapore Branch)" userId="bbbac036-7280-4bac-9c0d-a2e2069e1d29" providerId="ADAL" clId="{9705F007-7B00-4062-93A0-BA587561B57D}" dt="2021-07-13T22:15:34.545" v="774" actId="1037"/>
          <ac:graphicFrameMkLst>
            <pc:docMk/>
            <pc:sldMk cId="3170010938" sldId="319"/>
            <ac:graphicFrameMk id="9" creationId="{845FF713-152A-4A98-8A95-948FE48C0169}"/>
          </ac:graphicFrameMkLst>
        </pc:graphicFrameChg>
        <pc:graphicFrameChg chg="add del mod modGraphic">
          <ac:chgData name="Tan, Vincent (Allianz SE Singapore Branch)" userId="bbbac036-7280-4bac-9c0d-a2e2069e1d29" providerId="ADAL" clId="{9705F007-7B00-4062-93A0-BA587561B57D}" dt="2021-07-13T22:15:24.331" v="728" actId="478"/>
          <ac:graphicFrameMkLst>
            <pc:docMk/>
            <pc:sldMk cId="3170010938" sldId="319"/>
            <ac:graphicFrameMk id="18" creationId="{CBA4B98A-A90A-428B-9415-FFCB1E8A4B6C}"/>
          </ac:graphicFrameMkLst>
        </pc:graphicFrameChg>
        <pc:graphicFrameChg chg="add mod">
          <ac:chgData name="Tan, Vincent (Allianz SE Singapore Branch)" userId="bbbac036-7280-4bac-9c0d-a2e2069e1d29" providerId="ADAL" clId="{9705F007-7B00-4062-93A0-BA587561B57D}" dt="2021-07-13T22:09:43.273" v="703" actId="1076"/>
          <ac:graphicFrameMkLst>
            <pc:docMk/>
            <pc:sldMk cId="3170010938" sldId="319"/>
            <ac:graphicFrameMk id="35" creationId="{7109314E-3E4D-48BE-9071-78491022E3BC}"/>
          </ac:graphicFrameMkLst>
        </pc:graphicFrameChg>
      </pc:sldChg>
      <pc:sldChg chg="addSp delSp modSp new del mod">
        <pc:chgData name="Tan, Vincent (Allianz SE Singapore Branch)" userId="bbbac036-7280-4bac-9c0d-a2e2069e1d29" providerId="ADAL" clId="{9705F007-7B00-4062-93A0-BA587561B57D}" dt="2021-07-14T03:09:30.085" v="3794" actId="47"/>
        <pc:sldMkLst>
          <pc:docMk/>
          <pc:sldMk cId="1528865647" sldId="320"/>
        </pc:sldMkLst>
        <pc:spChg chg="del">
          <ac:chgData name="Tan, Vincent (Allianz SE Singapore Branch)" userId="bbbac036-7280-4bac-9c0d-a2e2069e1d29" providerId="ADAL" clId="{9705F007-7B00-4062-93A0-BA587561B57D}" dt="2021-07-13T22:15:50.122" v="777" actId="478"/>
          <ac:spMkLst>
            <pc:docMk/>
            <pc:sldMk cId="1528865647" sldId="320"/>
            <ac:spMk id="3" creationId="{2A88F9FD-3A5C-491E-883D-25B7E94A75C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15:48.362" v="776"/>
          <ac:spMkLst>
            <pc:docMk/>
            <pc:sldMk cId="1528865647" sldId="320"/>
            <ac:spMk id="5" creationId="{D16F4B82-9614-4338-BB90-21517C0F537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15:48.362" v="776"/>
          <ac:spMkLst>
            <pc:docMk/>
            <pc:sldMk cId="1528865647" sldId="320"/>
            <ac:spMk id="6" creationId="{0A23B17A-786D-4DB2-BA30-9380A2BCA01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3T22:15:48.362" v="776"/>
          <ac:spMkLst>
            <pc:docMk/>
            <pc:sldMk cId="1528865647" sldId="320"/>
            <ac:spMk id="7" creationId="{C6FD85F6-4B1E-454F-A6C9-93E1711154DF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7:18.408" v="3591" actId="21"/>
          <ac:spMkLst>
            <pc:docMk/>
            <pc:sldMk cId="1528865647" sldId="320"/>
            <ac:spMk id="9" creationId="{A6574599-C791-4ED9-AF26-1F7B9DC03460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1:37:32.808" v="2732" actId="113"/>
          <ac:spMkLst>
            <pc:docMk/>
            <pc:sldMk cId="1528865647" sldId="320"/>
            <ac:spMk id="10" creationId="{2526BCCD-E4BF-49D7-9474-B28CACE60A7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0:40:51.682" v="2014" actId="207"/>
          <ac:spMkLst>
            <pc:docMk/>
            <pc:sldMk cId="1528865647" sldId="320"/>
            <ac:spMk id="11" creationId="{C871B9BF-C136-4581-861E-BB87572E7E5E}"/>
          </ac:spMkLst>
        </pc:spChg>
        <pc:spChg chg="add mod">
          <ac:chgData name="Tan, Vincent (Allianz SE Singapore Branch)" userId="bbbac036-7280-4bac-9c0d-a2e2069e1d29" providerId="ADAL" clId="{9705F007-7B00-4062-93A0-BA587561B57D}" dt="2021-07-13T22:40:39.531" v="1392" actId="1076"/>
          <ac:spMkLst>
            <pc:docMk/>
            <pc:sldMk cId="1528865647" sldId="320"/>
            <ac:spMk id="25" creationId="{AFE5B5FA-18FC-44D8-B3F2-BE7CDB061FA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9:24.930" v="3793" actId="478"/>
          <ac:spMkLst>
            <pc:docMk/>
            <pc:sldMk cId="1528865647" sldId="320"/>
            <ac:spMk id="27" creationId="{C774452D-1F65-48E6-89AE-AE1A32E79FF3}"/>
          </ac:spMkLst>
        </pc:spChg>
        <pc:graphicFrameChg chg="add del mod">
          <ac:chgData name="Tan, Vincent (Allianz SE Singapore Branch)" userId="bbbac036-7280-4bac-9c0d-a2e2069e1d29" providerId="ADAL" clId="{9705F007-7B00-4062-93A0-BA587561B57D}" dt="2021-07-13T22:15:48.362" v="776"/>
          <ac:graphicFrameMkLst>
            <pc:docMk/>
            <pc:sldMk cId="1528865647" sldId="320"/>
            <ac:graphicFrameMk id="8" creationId="{68091150-1AC3-4429-81F1-AD3963F20B0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22:21.893" v="2694" actId="207"/>
          <ac:graphicFrameMkLst>
            <pc:docMk/>
            <pc:sldMk cId="1528865647" sldId="320"/>
            <ac:graphicFrameMk id="12" creationId="{09FE4104-BF99-48A7-AFCA-95B76420B29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22:57.001" v="2695" actId="207"/>
          <ac:graphicFrameMkLst>
            <pc:docMk/>
            <pc:sldMk cId="1528865647" sldId="320"/>
            <ac:graphicFrameMk id="13" creationId="{3CF58239-35FB-49D7-8B1D-F84D6AFAF24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3:59.520" v="1058" actId="478"/>
          <ac:graphicFrameMkLst>
            <pc:docMk/>
            <pc:sldMk cId="1528865647" sldId="320"/>
            <ac:graphicFrameMk id="14" creationId="{1B8E0CD5-D8E6-428E-804E-EF9EA52AE979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0:40:05.879" v="2006" actId="207"/>
          <ac:graphicFrameMkLst>
            <pc:docMk/>
            <pc:sldMk cId="1528865647" sldId="320"/>
            <ac:graphicFrameMk id="15" creationId="{BC59DDBB-6BAF-47C7-9F06-E3C6C783E8E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3:59.520" v="1058" actId="478"/>
          <ac:graphicFrameMkLst>
            <pc:docMk/>
            <pc:sldMk cId="1528865647" sldId="320"/>
            <ac:graphicFrameMk id="16" creationId="{3CF15F06-4123-4AC5-B55C-002025238D99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24:40.683" v="2699" actId="207"/>
          <ac:graphicFrameMkLst>
            <pc:docMk/>
            <pc:sldMk cId="1528865647" sldId="320"/>
            <ac:graphicFrameMk id="17" creationId="{21292315-551D-49E6-B792-A1A1DD16674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3:59.520" v="1058" actId="478"/>
          <ac:graphicFrameMkLst>
            <pc:docMk/>
            <pc:sldMk cId="1528865647" sldId="320"/>
            <ac:graphicFrameMk id="18" creationId="{73890BC3-2D36-4E6B-95B0-C65BE5CC8CD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4:17.060" v="1110" actId="478"/>
          <ac:graphicFrameMkLst>
            <pc:docMk/>
            <pc:sldMk cId="1528865647" sldId="320"/>
            <ac:graphicFrameMk id="19" creationId="{BFCCDAC8-EFDF-4881-8CA2-2DF20494201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4:17.060" v="1110" actId="478"/>
          <ac:graphicFrameMkLst>
            <pc:docMk/>
            <pc:sldMk cId="1528865647" sldId="320"/>
            <ac:graphicFrameMk id="20" creationId="{51A01FE9-E025-4CAB-84E2-1E5CBD8504C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2:24:17.060" v="1110" actId="478"/>
          <ac:graphicFrameMkLst>
            <pc:docMk/>
            <pc:sldMk cId="1528865647" sldId="320"/>
            <ac:graphicFrameMk id="21" creationId="{90D96053-8FEB-412F-979E-F364FF5A912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0:40:12.420" v="2008" actId="207"/>
          <ac:graphicFrameMkLst>
            <pc:docMk/>
            <pc:sldMk cId="1528865647" sldId="320"/>
            <ac:graphicFrameMk id="22" creationId="{B161E980-D73A-4DD0-A113-7F5D4991580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24:00.277" v="2697" actId="207"/>
          <ac:graphicFrameMkLst>
            <pc:docMk/>
            <pc:sldMk cId="1528865647" sldId="320"/>
            <ac:graphicFrameMk id="23" creationId="{8AAC0388-3475-4DC8-9A75-403059FC426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0:40:25.888" v="2011" actId="207"/>
          <ac:graphicFrameMkLst>
            <pc:docMk/>
            <pc:sldMk cId="1528865647" sldId="320"/>
            <ac:graphicFrameMk id="24" creationId="{65E9160A-BAB3-401E-8721-E2E644625613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24:55.468" v="2701" actId="207"/>
          <ac:graphicFrameMkLst>
            <pc:docMk/>
            <pc:sldMk cId="1528865647" sldId="320"/>
            <ac:graphicFrameMk id="26" creationId="{F21B9587-C328-4E50-B178-AC44FDEF911B}"/>
          </ac:graphicFrameMkLst>
        </pc:graphicFrameChg>
      </pc:sldChg>
      <pc:sldChg chg="addSp delSp modSp new mod">
        <pc:chgData name="Tan, Vincent (Allianz SE Singapore Branch)" userId="bbbac036-7280-4bac-9c0d-a2e2069e1d29" providerId="ADAL" clId="{9705F007-7B00-4062-93A0-BA587561B57D}" dt="2021-07-15T12:55:50.363" v="7765" actId="1036"/>
        <pc:sldMkLst>
          <pc:docMk/>
          <pc:sldMk cId="2988009286" sldId="321"/>
        </pc:sldMkLst>
        <pc:spChg chg="mod">
          <ac:chgData name="Tan, Vincent (Allianz SE Singapore Branch)" userId="bbbac036-7280-4bac-9c0d-a2e2069e1d29" providerId="ADAL" clId="{9705F007-7B00-4062-93A0-BA587561B57D}" dt="2021-07-14T03:12:10.835" v="3879" actId="1035"/>
          <ac:spMkLst>
            <pc:docMk/>
            <pc:sldMk cId="2988009286" sldId="321"/>
            <ac:spMk id="3" creationId="{F9849FDC-3C10-4578-81CF-050A0CDB3292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2:55:50.363" v="7765" actId="1036"/>
          <ac:spMkLst>
            <pc:docMk/>
            <pc:sldMk cId="2988009286" sldId="321"/>
            <ac:spMk id="16" creationId="{C37F492E-DCC9-47C2-85C3-B1A054C6B3EB}"/>
          </ac:spMkLst>
        </pc:spChg>
        <pc:graphicFrameChg chg="add del mod">
          <ac:chgData name="Tan, Vincent (Allianz SE Singapore Branch)" userId="bbbac036-7280-4bac-9c0d-a2e2069e1d29" providerId="ADAL" clId="{9705F007-7B00-4062-93A0-BA587561B57D}" dt="2021-07-13T23:57:11.918" v="1496"/>
          <ac:graphicFrameMkLst>
            <pc:docMk/>
            <pc:sldMk cId="2988009286" sldId="321"/>
            <ac:graphicFrameMk id="5" creationId="{B3BD6BD2-B3C1-4CA9-920C-68C66DC627A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3:57:11.918" v="1496"/>
          <ac:graphicFrameMkLst>
            <pc:docMk/>
            <pc:sldMk cId="2988009286" sldId="321"/>
            <ac:graphicFrameMk id="6" creationId="{DEE5DAAB-AD60-4833-BB4A-911828BD2C2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3T23:57:11.918" v="1496"/>
          <ac:graphicFrameMkLst>
            <pc:docMk/>
            <pc:sldMk cId="2988009286" sldId="321"/>
            <ac:graphicFrameMk id="8" creationId="{65F208C7-6423-4E65-8856-B3BD677A6561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07:29.192" v="2589"/>
          <ac:graphicFrameMkLst>
            <pc:docMk/>
            <pc:sldMk cId="2988009286" sldId="321"/>
            <ac:graphicFrameMk id="9" creationId="{E65789A6-4BBC-419F-AC7E-461B167529B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0:03:41.520" v="1525"/>
          <ac:graphicFrameMkLst>
            <pc:docMk/>
            <pc:sldMk cId="2988009286" sldId="321"/>
            <ac:graphicFrameMk id="10" creationId="{E9AD57FC-B198-4EA8-A87F-9CD3812D599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0:07:05.217" v="1541" actId="478"/>
          <ac:graphicFrameMkLst>
            <pc:docMk/>
            <pc:sldMk cId="2988009286" sldId="321"/>
            <ac:graphicFrameMk id="11" creationId="{0F0155D1-6670-4B20-A106-E68B70F9A079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0:07:13.340" v="1544"/>
          <ac:graphicFrameMkLst>
            <pc:docMk/>
            <pc:sldMk cId="2988009286" sldId="321"/>
            <ac:graphicFrameMk id="12" creationId="{D1309615-B61F-43AC-AED2-AF8D90232EF7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08:39.163" v="2598" actId="1076"/>
          <ac:graphicFrameMkLst>
            <pc:docMk/>
            <pc:sldMk cId="2988009286" sldId="321"/>
            <ac:graphicFrameMk id="13" creationId="{A56BC148-AD5C-4866-B224-B1BD13988C34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1:07:43.130" v="2591"/>
          <ac:graphicFrameMkLst>
            <pc:docMk/>
            <pc:sldMk cId="2988009286" sldId="321"/>
            <ac:graphicFrameMk id="14" creationId="{DC1455A6-13DD-4885-9960-92CE0E2632B2}"/>
          </ac:graphicFrameMkLst>
        </pc:graphicFrameChg>
        <pc:picChg chg="add del mod">
          <ac:chgData name="Tan, Vincent (Allianz SE Singapore Branch)" userId="bbbac036-7280-4bac-9c0d-a2e2069e1d29" providerId="ADAL" clId="{9705F007-7B00-4062-93A0-BA587561B57D}" dt="2021-07-13T23:57:11.918" v="1496"/>
          <ac:picMkLst>
            <pc:docMk/>
            <pc:sldMk cId="2988009286" sldId="321"/>
            <ac:picMk id="7" creationId="{9CF12239-FA53-43CE-B704-5B44FAED88C7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4T01:08:03.492" v="2594" actId="14100"/>
          <ac:picMkLst>
            <pc:docMk/>
            <pc:sldMk cId="2988009286" sldId="321"/>
            <ac:picMk id="15" creationId="{516C4681-1090-4D23-BB68-4EB5179C3A9F}"/>
          </ac:picMkLst>
        </pc:picChg>
      </pc:sldChg>
      <pc:sldChg chg="addSp modSp new mod">
        <pc:chgData name="Tan, Vincent (Allianz SE Singapore Branch)" userId="bbbac036-7280-4bac-9c0d-a2e2069e1d29" providerId="ADAL" clId="{9705F007-7B00-4062-93A0-BA587561B57D}" dt="2021-07-15T12:55:41.828" v="7761" actId="1036"/>
        <pc:sldMkLst>
          <pc:docMk/>
          <pc:sldMk cId="140688261" sldId="322"/>
        </pc:sldMkLst>
        <pc:spChg chg="mod">
          <ac:chgData name="Tan, Vincent (Allianz SE Singapore Branch)" userId="bbbac036-7280-4bac-9c0d-a2e2069e1d29" providerId="ADAL" clId="{9705F007-7B00-4062-93A0-BA587561B57D}" dt="2021-07-14T03:12:34.616" v="3918" actId="1035"/>
          <ac:spMkLst>
            <pc:docMk/>
            <pc:sldMk cId="140688261" sldId="322"/>
            <ac:spMk id="3" creationId="{78980F4E-5816-4FEC-99B3-5F8E4C1A21A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17:11.585" v="4012" actId="207"/>
          <ac:spMkLst>
            <pc:docMk/>
            <pc:sldMk cId="140688261" sldId="322"/>
            <ac:spMk id="6" creationId="{DF5B41DF-9DB0-4B76-A677-4F7DCB342F78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17:07.945" v="4011" actId="207"/>
          <ac:spMkLst>
            <pc:docMk/>
            <pc:sldMk cId="140688261" sldId="322"/>
            <ac:spMk id="7" creationId="{A4C6258D-AB53-49C0-812B-8ECF71222CE0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2:55:41.828" v="7761" actId="1036"/>
          <ac:spMkLst>
            <pc:docMk/>
            <pc:sldMk cId="140688261" sldId="322"/>
            <ac:spMk id="9" creationId="{1F44FDF6-762B-4D59-A296-063550BA2BD4}"/>
          </ac:spMkLst>
        </pc:spChg>
        <pc:graphicFrameChg chg="add mod modGraphic">
          <ac:chgData name="Tan, Vincent (Allianz SE Singapore Branch)" userId="bbbac036-7280-4bac-9c0d-a2e2069e1d29" providerId="ADAL" clId="{9705F007-7B00-4062-93A0-BA587561B57D}" dt="2021-07-14T04:41:01.897" v="4961" actId="255"/>
          <ac:graphicFrameMkLst>
            <pc:docMk/>
            <pc:sldMk cId="140688261" sldId="322"/>
            <ac:graphicFrameMk id="5" creationId="{9BAB10FC-FB79-4FF3-9A64-FD1A240F36FF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4:41:10.802" v="4963" actId="255"/>
          <ac:graphicFrameMkLst>
            <pc:docMk/>
            <pc:sldMk cId="140688261" sldId="322"/>
            <ac:graphicFrameMk id="8" creationId="{D7F557C8-60D5-48DB-89F8-A538A3639637}"/>
          </ac:graphicFrameMkLst>
        </pc:graphicFrameChg>
      </pc:sldChg>
      <pc:sldChg chg="addSp modSp add mod ord">
        <pc:chgData name="Tan, Vincent (Allianz SE Singapore Branch)" userId="bbbac036-7280-4bac-9c0d-a2e2069e1d29" providerId="ADAL" clId="{9705F007-7B00-4062-93A0-BA587561B57D}" dt="2021-07-16T08:24:20.438" v="10206" actId="14734"/>
        <pc:sldMkLst>
          <pc:docMk/>
          <pc:sldMk cId="3794999500" sldId="323"/>
        </pc:sldMkLst>
        <pc:spChg chg="mod">
          <ac:chgData name="Tan, Vincent (Allianz SE Singapore Branch)" userId="bbbac036-7280-4bac-9c0d-a2e2069e1d29" providerId="ADAL" clId="{9705F007-7B00-4062-93A0-BA587561B57D}" dt="2021-07-14T07:55:17.064" v="7026" actId="6549"/>
          <ac:spMkLst>
            <pc:docMk/>
            <pc:sldMk cId="3794999500" sldId="323"/>
            <ac:spMk id="3" creationId="{78980F4E-5816-4FEC-99B3-5F8E4C1A21A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5:12.352" v="7025" actId="6549"/>
          <ac:spMkLst>
            <pc:docMk/>
            <pc:sldMk cId="3794999500" sldId="323"/>
            <ac:spMk id="7" creationId="{A83948E7-EA1E-4F57-AE5E-BE5CE4C0EB8F}"/>
          </ac:spMkLst>
        </pc:spChg>
        <pc:graphicFrameChg chg="add mod modGraphic">
          <ac:chgData name="Tan, Vincent (Allianz SE Singapore Branch)" userId="bbbac036-7280-4bac-9c0d-a2e2069e1d29" providerId="ADAL" clId="{9705F007-7B00-4062-93A0-BA587561B57D}" dt="2021-07-14T07:24:39.132" v="6922" actId="14734"/>
          <ac:graphicFrameMkLst>
            <pc:docMk/>
            <pc:sldMk cId="3794999500" sldId="323"/>
            <ac:graphicFrameMk id="5" creationId="{0C9ADDEB-3ED9-4EBC-8D89-2A60D7FF9643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8:24:20.438" v="10206" actId="14734"/>
          <ac:graphicFrameMkLst>
            <pc:docMk/>
            <pc:sldMk cId="3794999500" sldId="323"/>
            <ac:graphicFrameMk id="6" creationId="{029D7A0E-E1CF-4D3B-80A1-19B26FA1C95F}"/>
          </ac:graphicFrameMkLst>
        </pc:graphicFrameChg>
      </pc:sldChg>
      <pc:sldChg chg="addSp delSp modSp new del mod">
        <pc:chgData name="Tan, Vincent (Allianz SE Singapore Branch)" userId="bbbac036-7280-4bac-9c0d-a2e2069e1d29" providerId="ADAL" clId="{9705F007-7B00-4062-93A0-BA587561B57D}" dt="2021-07-14T03:03:46.290" v="3477" actId="47"/>
        <pc:sldMkLst>
          <pc:docMk/>
          <pc:sldMk cId="19761106" sldId="324"/>
        </pc:sldMkLst>
        <pc:spChg chg="add del mod">
          <ac:chgData name="Tan, Vincent (Allianz SE Singapore Branch)" userId="bbbac036-7280-4bac-9c0d-a2e2069e1d29" providerId="ADAL" clId="{9705F007-7B00-4062-93A0-BA587561B57D}" dt="2021-07-14T02:44:56.426" v="2948" actId="478"/>
          <ac:spMkLst>
            <pc:docMk/>
            <pc:sldMk cId="19761106" sldId="324"/>
            <ac:spMk id="2" creationId="{5DBC2E9E-9B65-451B-8E2D-7EB6E97C0877}"/>
          </ac:spMkLst>
        </pc:spChg>
        <pc:spChg chg="add del">
          <ac:chgData name="Tan, Vincent (Allianz SE Singapore Branch)" userId="bbbac036-7280-4bac-9c0d-a2e2069e1d29" providerId="ADAL" clId="{9705F007-7B00-4062-93A0-BA587561B57D}" dt="2021-07-14T02:44:56.426" v="2948" actId="478"/>
          <ac:spMkLst>
            <pc:docMk/>
            <pc:sldMk cId="19761106" sldId="324"/>
            <ac:spMk id="3" creationId="{7D767CDB-53FC-4763-BCFE-89D73B3E574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9.521" v="3126" actId="478"/>
          <ac:spMkLst>
            <pc:docMk/>
            <pc:sldMk cId="19761106" sldId="324"/>
            <ac:spMk id="4" creationId="{7A003CC5-49A0-4D9E-A001-F78F72C9608C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2:58:41.903" v="3278" actId="478"/>
          <ac:spMkLst>
            <pc:docMk/>
            <pc:sldMk cId="19761106" sldId="324"/>
            <ac:spMk id="5" creationId="{5356D5A0-67B0-42A8-A0EA-F9DDA8AC163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9.521" v="3126" actId="478"/>
          <ac:spMkLst>
            <pc:docMk/>
            <pc:sldMk cId="19761106" sldId="324"/>
            <ac:spMk id="6" creationId="{A181FB35-716C-4666-B216-6E1CE0C3C4F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4:51.510" v="2947" actId="478"/>
          <ac:spMkLst>
            <pc:docMk/>
            <pc:sldMk cId="19761106" sldId="324"/>
            <ac:spMk id="8" creationId="{D2344602-8F48-4F1F-A60E-A1FEB780B93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5:00.141" v="2949" actId="478"/>
          <ac:spMkLst>
            <pc:docMk/>
            <pc:sldMk cId="19761106" sldId="324"/>
            <ac:spMk id="10" creationId="{D9EB410C-8E3C-49E6-B75A-62024F0AEAF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11" creationId="{3D03160E-9777-47DF-9F66-78EB8C05FB7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43.099" v="3456" actId="478"/>
          <ac:spMkLst>
            <pc:docMk/>
            <pc:sldMk cId="19761106" sldId="324"/>
            <ac:spMk id="12" creationId="{96987F46-AE32-4A5E-B0BF-E3512B1E31B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03.788" v="2981"/>
          <ac:spMkLst>
            <pc:docMk/>
            <pc:sldMk cId="19761106" sldId="324"/>
            <ac:spMk id="14" creationId="{0E06D22F-95E5-4E3D-8B81-0AB8169B398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03.788" v="2981"/>
          <ac:spMkLst>
            <pc:docMk/>
            <pc:sldMk cId="19761106" sldId="324"/>
            <ac:spMk id="15" creationId="{2C848CF8-305E-41CC-A396-5FD5680F86F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03.788" v="2981"/>
          <ac:spMkLst>
            <pc:docMk/>
            <pc:sldMk cId="19761106" sldId="324"/>
            <ac:spMk id="16" creationId="{2E55936E-E435-45AF-A31D-8C8AB16AC5B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7" creationId="{66CC911E-EDE4-4DC3-8944-9DFD8A5BAC2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9" creationId="{4F6B163F-9CB4-49C9-A1E9-6AB010493F6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20" creationId="{290A88F3-45E1-45D4-BA36-7E83D1A0141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25" creationId="{341FFB23-8B29-44C2-8619-D906B6E1F7A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27" creationId="{12839838-2D8A-4896-8CE0-80414701E71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28" creationId="{D40F019C-29B4-42B5-A882-8154D2E3D9D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29" creationId="{2CC34059-85FA-4CF8-A5CB-A3994C4824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0" creationId="{D2B63982-8A43-438F-947B-FB7A6515CE3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1" creationId="{9A93C58A-9D07-40C0-BE11-10DFDE213DA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2" creationId="{5453B0C9-72A8-45FA-9DB5-FA997032A2E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3" creationId="{5D84B971-F89E-4FFE-A63E-1A6035C205A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4" creationId="{7ACD597D-33EA-4D12-9C3B-F5798635F8D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5" creationId="{0659521F-C2DF-4840-B1E0-83CF93B5C3E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6" creationId="{0FA5A3DB-BFB0-4E5A-9C2A-27E0C471669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7" creationId="{2001879C-2EA3-40BA-86B1-0A83E472C11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8" creationId="{DB8E22E5-614D-4AAA-852F-785C69EA6F0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39" creationId="{3B18A47D-77A0-433F-8B41-5CC8477A22C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0" creationId="{AB8EFE42-8DF1-4CBE-ABF4-2A527F5CB34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1" creationId="{2E2A432A-ED4E-40F7-82B1-90BA369C0FB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2" creationId="{D7C150E8-5437-4FAE-B64C-3B4D1578F05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6" creationId="{97B58F55-7C6A-43B6-83DD-614D394F8AE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7" creationId="{9ED35271-E830-459F-88CC-C112D5E426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8" creationId="{A73FD9FB-6051-4E95-9214-E0FE9990828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49" creationId="{6B91232C-599D-4E44-A908-86D2D5516EB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0" creationId="{95BEE9DB-E58C-41A5-99B4-C02D0B6E83F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4" creationId="{1FC3257F-C294-4777-8E71-E999668B1C0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5" creationId="{F991E0AF-F21A-487B-B2BD-901C627FB15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6" creationId="{8E800465-7E14-460C-B47B-883BBB6680B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7" creationId="{1938FE14-F9A1-4DB6-87E0-979531CB22E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8" creationId="{B1D4818A-A67B-490E-BF5D-76DD4CF2CA9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59" creationId="{E2E9469F-A027-4908-AED3-97404544522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0" creationId="{1537EFA0-5EA2-4AF0-8CFE-2CF896F3FC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1" creationId="{00F0652D-0133-43D8-B3FA-0C7308C93E8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2" creationId="{294FB825-8171-44C0-BE00-989220B8F99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5" creationId="{DEF21195-1ACE-49C1-BB3F-EAC7894C532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6" creationId="{23308AC1-EC7F-4102-9FC7-E76DFF5D391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7" creationId="{D93E3E46-E513-436F-9B1C-80EADB08107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68" creationId="{9CC53545-DF7B-44D7-B20F-5DFF4AD84F9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74" creationId="{B9DA3880-E4C4-43CA-B876-2E988CDEE6A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75" creationId="{FAE6C7C9-FFD3-4B97-BF89-64E00E4577F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76" creationId="{B4F97A64-C41C-44AA-8328-AEDB103383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77" creationId="{0872EAC7-5C14-48CF-9D8C-C4B55755CC3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78" creationId="{7DA4E8D0-A475-4336-A66D-9AB893F3CF5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3" creationId="{4B4810BE-491F-45D0-A830-695DC14F0E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5" creationId="{F6763553-9BF6-4445-B5B1-34FF694A42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6" creationId="{28190D39-7E21-425E-90B5-7182DD2CBDA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7" creationId="{C343BB36-2D0D-4269-8903-858894B3DF8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8" creationId="{46DCF0F7-EFA3-4808-84A0-D4D79D7162F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89" creationId="{25E5DE02-11DA-49EE-850E-F0E51E45F3A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0" creationId="{A4ECC57E-F698-4F91-ABB1-A36D6AE692A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1" creationId="{B2D12764-F028-4B47-9D06-B5A820ABE88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2" creationId="{0365EE9D-07F2-45FD-B936-B9C71313CC4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3" creationId="{D3315927-1645-4DDA-8FE4-E7791A1D6D2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4" creationId="{158F27DC-D269-4492-8F61-AAA3A6EB642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5" creationId="{C9C1B698-1B62-4B3E-A50E-3DB5174152A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6" creationId="{CE8B44CB-7F7B-4A32-AE8A-0B5880DF38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97" creationId="{A77C4D1B-E14F-47CF-BD44-46B732B8C5E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0" creationId="{B71AAE8D-39D7-4176-AA3A-4C587E7026E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1" creationId="{3A0953F4-899E-4A9F-9210-41D68C00E3F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2" creationId="{D4B5A2B9-E5A4-4E84-8566-0B169425527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3" creationId="{60FF9CDA-D959-47DB-ABFB-07CCA966BAD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4" creationId="{EF296624-7BA3-440D-B206-96A29B538F6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5" creationId="{EB7496F4-2725-4077-BEE6-88B9B9FDA45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6" creationId="{852DE3B5-4DE3-4999-9BAA-D21387B4692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07" creationId="{56FC4570-D1E2-4466-845A-30616222471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09" creationId="{24637D1F-D32D-4D2B-A274-9A7EA094DC8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0" creationId="{ED978D61-4816-4479-BA6E-3DFF7E31B6F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1" creationId="{91392811-F9FB-486D-9A2E-F7341E78330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2" creationId="{09A6A19A-FDC0-48EA-89A7-CCB1C4CDC14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3" creationId="{DC2617C1-8007-49AC-949F-F8EDBDE9557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4" creationId="{35DED0C0-E472-4CEC-B4AF-FDC9EEC4E24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5" creationId="{D6E73875-F6B9-4069-B30A-003F62FB229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6" creationId="{85D80180-9822-4FF7-BD6E-B934DBFDB52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7" creationId="{DD73CD63-5F5C-4565-BF4C-A1A6C8C4E36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8" creationId="{76B9D9C3-6E53-46FF-849B-1F11BB8D882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19" creationId="{B43A2605-85A7-4990-AC26-1AB25F27469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0" creationId="{179405E5-801D-475A-936E-B998E5CFFC0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1" creationId="{99B0AACA-E60B-4995-9A31-1F27826431C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2" creationId="{390FA367-0F5A-4C26-9111-FF7993A6027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3" creationId="{997A7051-9D2A-40C9-9228-E6DE18F0353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4" creationId="{34BC0DE7-247E-4404-95FE-D835353B766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5" creationId="{F8D76830-94E7-42EF-87C8-C03F89ED34C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6" creationId="{2A2EA7D3-B7EB-44FC-8E7F-651877D0AA5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27" creationId="{E201CFC4-6303-42F7-981D-B765FFB87B9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28" creationId="{98B37FDA-6060-4ECC-A37B-DFB365523F5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29" creationId="{375E7F67-D8ED-4B10-9059-FCDA1FE5F66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7:05.048" v="2987"/>
          <ac:spMkLst>
            <pc:docMk/>
            <pc:sldMk cId="19761106" sldId="324"/>
            <ac:spMk id="130" creationId="{934D3395-ABEA-40AB-B936-9E02369A26C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32" creationId="{2A6CA1B3-9B39-4F9B-9FFB-80806E0FC5F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33" creationId="{031E543D-FEFE-402F-860E-0BB1D6E87BE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6:25.065" v="2982"/>
          <ac:spMkLst>
            <pc:docMk/>
            <pc:sldMk cId="19761106" sldId="324"/>
            <ac:spMk id="134" creationId="{E566BE28-5D73-4301-B8EC-59D058E1D24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35" creationId="{4E4950CF-BE20-47B2-8083-33E3B3287F8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37" creationId="{A3BE80BD-A637-409A-8D13-DFB22B91161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38" creationId="{FFCE7B74-71DB-4799-87FC-FDEBE79BFF0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3" creationId="{FB5994E0-3BCD-4D0A-851D-A13C090682B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5" creationId="{EA68D985-C7C6-4AE3-B084-B14491CAD43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6" creationId="{97487DCF-36B6-42E2-940B-F18D05785A8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7" creationId="{D8F21B18-C4B3-4BBD-BD43-CD41D70522A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8" creationId="{A5133EFE-8604-4EF5-9992-4C41F9C0A0D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49" creationId="{8B94C429-9075-45FE-90DD-A0F7CC5E639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0" creationId="{9EF6F9BE-DE85-475E-8EBC-9AAC609AC7C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1" creationId="{5DABCB11-C94D-4E4B-AC2C-E349A659316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2" creationId="{9E4B3AD0-DED7-486C-9DBD-2F1591B437F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3" creationId="{BBE7A5B1-0639-479A-A29F-34D5D78182C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4" creationId="{B220C24D-E3AE-4B64-9B3C-E238120744B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5" creationId="{5EC2ED8C-0445-452A-BC08-66C26108E78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6" creationId="{7ADF9E32-BB03-4AB3-B3E6-CB5D705818B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7" creationId="{53741C01-1049-40D5-90D1-E6FE4A00D90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8" creationId="{9A62BA51-F874-440F-92B3-AD9BE5E1640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59" creationId="{D08EE5C7-9D24-413F-862C-533D1891206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0" creationId="{CB710B7E-4DA2-47ED-BDBA-F596B19407E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4" creationId="{76F5566D-3C0E-4B06-A985-8F02E06C5F5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5" creationId="{C6491417-0E1E-4088-A8CF-0709B87839A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6" creationId="{44644AE1-F9E9-4026-81EF-CF7378436A4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7" creationId="{44212632-B11F-46C5-AA85-3B50EE9860A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68" creationId="{361BEBCF-D5C0-4317-83CD-607B02779D9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2" creationId="{E9C05046-2F72-4007-916D-835BB680332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3" creationId="{F5A46736-E8DD-42EE-BC4C-3A3BB46A62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4" creationId="{FD76A47E-41DE-4373-89A7-01D11845F92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5" creationId="{BF7AAC1F-7A9F-43C2-85C5-BF1037989E9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6" creationId="{D930EC68-0E5E-4E50-9E9A-E412129B3F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7" creationId="{9286C8A0-734E-4D39-8BC8-4A03C943484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8" creationId="{7B24D19B-D2A2-4F9F-91D6-DACB4DC3EA6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79" creationId="{697D551C-2608-46D6-A6FE-EEC4295D965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80" creationId="{BC74FB93-68DE-422E-ABA9-2683039C8F7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83" creationId="{FD973338-3830-4EFF-ACE8-B7E395E0357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84" creationId="{D74AA23F-2EE0-4AD0-9458-394C325D010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85" creationId="{F3551F45-C8E8-4F57-9109-E14D2D7C973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186" creationId="{C8651F0E-75A0-4FA2-985B-69852944D54F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192" creationId="{723FD30B-7091-4332-B7C6-B5B0F5C4FF4D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193" creationId="{852C4610-FCA8-4EB2-989E-49F0D23D8C4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194" creationId="{8625F88E-87A6-4D10-9DDD-E03AD3A891B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195" creationId="{D647C3F6-1629-41E5-8D18-73A242CB427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196" creationId="{C141F4B8-BDDD-4C24-9D50-8A3CF2726D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1" creationId="{63F701A8-D159-4FBF-A9FF-27E21E9C4DD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3" creationId="{B92C65CC-035C-4AE5-9DD6-AF1ACC3942D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4" creationId="{712D0BC5-0995-42A4-80E8-7DD259DE697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5" creationId="{38C0C239-0921-403D-9D31-0FFDE0AF8BB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6" creationId="{973610D7-3896-46CB-A92B-B005A1F1549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7" creationId="{FAA45A06-6D88-418C-BFDB-E88AB5C7721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8" creationId="{492803E6-4D19-4938-AF31-D6FE08127D3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09" creationId="{514A2840-DAE8-4DAE-92C6-11020522AEA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0" creationId="{601E4FA9-FAB2-423D-A6A2-F26B1EF09DD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1" creationId="{4B6CC048-8286-44F7-80E2-AB491B95AAF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2" creationId="{7C8E2B1E-D70A-4BDA-A66B-6D2B210C791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3" creationId="{F4510884-FE93-4E91-AE31-44FA60C4CD6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4" creationId="{2DF2620C-4EBC-4188-8F5F-8159D8651E6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5" creationId="{844686A6-9C90-4718-9191-A26A430EDDC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8" creationId="{5FDAC1CF-B7A9-4249-B29D-549BDDE9041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19" creationId="{D387A1EF-BF20-49A6-A192-655E294CC1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0" creationId="{6F2CBAAD-9C23-4C70-8790-2367D13BD2F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1" creationId="{733AB15F-D839-4124-9B27-518AE68AC8C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2" creationId="{2DD036C1-1D45-491B-97F5-3C73B02F640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3" creationId="{72AA124F-D494-4B7E-80F5-D4029EA723E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4" creationId="{89C61F5F-6B95-45D5-938F-6476A6F1115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5" creationId="{475C519A-A3A6-4080-943A-FCBF26A041FC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227" creationId="{C4683418-F4DD-4766-8DE0-7E1657BDB826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8" creationId="{7312A82F-D07E-4040-A4C1-984B6A0DB2DA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29" creationId="{0966A3A0-135F-4A52-9980-04A706EBCF45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0" creationId="{04C396CC-4ABB-4740-B566-45647E952463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1" creationId="{A3D6B472-B0FA-4AB4-B74A-34F6727CB542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2" creationId="{0FA56DA6-2056-4C28-A500-8B76F15BEC69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3" creationId="{A4E389D3-7543-4FFB-AC2B-EE0D53601761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4" creationId="{54CFB4A3-90E5-4186-B4DD-FF6FC06C035C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5" creationId="{CB2EF155-72DD-4CB9-9C4F-1A3F4CC2688A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6" creationId="{812A32CD-2041-4BE3-8802-4C9AC7EAA486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7" creationId="{6557A5E7-4F9F-41BD-97D4-BD39D76E153D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8" creationId="{6D7329AF-AC4E-4AFD-A5E2-84BE3EE97359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39" creationId="{7649B8CD-C913-4A77-8389-4B801E221C87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0" creationId="{005EA348-65A9-4ED4-824D-E578835383BE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1" creationId="{38476C47-5292-4F9D-99AB-4186D6FAFB97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2" creationId="{C2D7E1F5-97CD-4F84-A898-1444A5A9F5F3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3" creationId="{52B40FFF-E5BE-4B0E-B81A-8C9475F2BACE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4" creationId="{7BA572C6-359D-474D-B7B7-CF5A236F499B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5" creationId="{245776C1-001D-400C-A45C-ACE11757534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6" creationId="{2DF86734-6890-40A4-BFCD-25470CA609E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7" creationId="{BE767516-3630-4C7D-83DD-622DC263D04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46.759" v="3127" actId="478"/>
          <ac:spMkLst>
            <pc:docMk/>
            <pc:sldMk cId="19761106" sldId="324"/>
            <ac:spMk id="248" creationId="{DEBD6430-6AA0-4AA3-9B27-78F437749C1E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250" creationId="{DC525184-7BCB-4BC9-91A2-0E97ED4B3B85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251" creationId="{EFC88185-896D-4101-9294-30964AC953B0}"/>
          </ac:spMkLst>
        </pc:spChg>
        <pc:spChg chg="del mod topLvl">
          <ac:chgData name="Tan, Vincent (Allianz SE Singapore Branch)" userId="bbbac036-7280-4bac-9c0d-a2e2069e1d29" providerId="ADAL" clId="{9705F007-7B00-4062-93A0-BA587561B57D}" dt="2021-07-14T02:48:22.136" v="3071" actId="478"/>
          <ac:spMkLst>
            <pc:docMk/>
            <pc:sldMk cId="19761106" sldId="324"/>
            <ac:spMk id="252" creationId="{87543E36-81CC-4FA5-BE0C-20409E19C20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8:30.969" v="3072"/>
          <ac:spMkLst>
            <pc:docMk/>
            <pc:sldMk cId="19761106" sldId="324"/>
            <ac:spMk id="255" creationId="{9E93C8B9-824D-4A25-BE73-5EA7CBD813A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8:30.969" v="3072"/>
          <ac:spMkLst>
            <pc:docMk/>
            <pc:sldMk cId="19761106" sldId="324"/>
            <ac:spMk id="256" creationId="{6FA3C900-24C5-47A1-A4DB-06F10F9C4F7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2.117" v="3124"/>
          <ac:spMkLst>
            <pc:docMk/>
            <pc:sldMk cId="19761106" sldId="324"/>
            <ac:spMk id="257" creationId="{4CB6460F-5561-408A-A45B-1BA4D078B0A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2.117" v="3124"/>
          <ac:spMkLst>
            <pc:docMk/>
            <pc:sldMk cId="19761106" sldId="324"/>
            <ac:spMk id="258" creationId="{B6828583-4C61-43E1-ABD1-907B57B0BC6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2.117" v="3124"/>
          <ac:spMkLst>
            <pc:docMk/>
            <pc:sldMk cId="19761106" sldId="324"/>
            <ac:spMk id="259" creationId="{75D25FA9-5EF5-49C2-9968-E8F6E7EDC28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8:30.969" v="3072"/>
          <ac:spMkLst>
            <pc:docMk/>
            <pc:sldMk cId="19761106" sldId="324"/>
            <ac:spMk id="263" creationId="{52B49889-13EF-4C68-8D18-355D8D15D83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8:30.969" v="3072"/>
          <ac:spMkLst>
            <pc:docMk/>
            <pc:sldMk cId="19761106" sldId="324"/>
            <ac:spMk id="264" creationId="{452FF054-B985-41B5-9003-73C67F4AA09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8:30.969" v="3072"/>
          <ac:spMkLst>
            <pc:docMk/>
            <pc:sldMk cId="19761106" sldId="324"/>
            <ac:spMk id="265" creationId="{8D8D9CD8-DA77-44E0-A1C4-A820ED9B3AE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0:32.117" v="3124"/>
          <ac:spMkLst>
            <pc:docMk/>
            <pc:sldMk cId="19761106" sldId="324"/>
            <ac:spMk id="266" creationId="{9BDB7808-00AC-46F1-8240-1ADBA4D4779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68" creationId="{2FE74CC7-9EE3-4202-B510-D9E4405D13D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70" creationId="{71389BF5-3F4E-4068-8AD6-38FEF935874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71" creationId="{BC86C8C0-0D6D-4B9B-8600-3BD1E4804B9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76" creationId="{3E0E9B13-0DE4-4D39-85EB-CF9051FAC98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78" creationId="{7CB4D0FC-4C31-4AE4-87BD-B3ECCB54D94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79" creationId="{85485967-5E78-4521-8913-5BFAA8E3D45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0" creationId="{50D6D199-BEF3-4A35-884C-AC54FFE7ADD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1" creationId="{3B8DFD25-E31C-49A9-A04E-EEA63184588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2" creationId="{2AFA0239-EE2B-457F-8847-01B074DE688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3" creationId="{B8C62DC8-0B69-4819-A6BB-791D00ADF97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4" creationId="{50A41A1C-6D28-4750-A24F-946F5B0A0BF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5" creationId="{48A9FD48-9356-445D-BDE7-AE7A645C273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6" creationId="{8DB50F6B-A20F-42B6-8127-C38F704646D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7" creationId="{3BBFC9A2-344F-433B-A4E9-DA3895ACACD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8" creationId="{46A65C82-FE61-4EAB-95F8-D28B0D342AA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89" creationId="{1FD84343-81E4-4E87-B845-213EEE83079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0" creationId="{E7C0A706-F658-4AB9-8B9B-09A24DB1D03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1" creationId="{AEC15119-5F66-4D51-B66E-888687438B0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2" creationId="{0369305B-019C-44EF-BB52-9AFE94E60F7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3" creationId="{D98628E8-5522-4D66-A948-BBA53C07899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7" creationId="{AEF63C1D-2DDD-46CD-8DE9-F780EA1E98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8" creationId="{BC48E04B-6085-4181-8D35-74A9C4887C0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299" creationId="{E99C6D14-BB7A-4A31-BCEF-13A3D0CF91B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0" creationId="{8646A291-8C14-47E7-8DEF-A416E3200F4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1" creationId="{02585011-4898-4A4F-B58A-7CCE1F47223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5" creationId="{8DD6C05C-1E48-419A-A48B-5D8171DF131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6" creationId="{056BBEB1-8BC4-4FF8-987A-14546A7D812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7" creationId="{9C7F287B-CD84-4AD9-B6E2-DC9B829AE8F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8" creationId="{E7A41A53-875E-4775-9124-46B43F19F8A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09" creationId="{1EBFB005-0E5B-461C-894A-705FB36442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0" creationId="{30967794-EF10-48FD-A69D-414B60F3B89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1" creationId="{33F8280D-749E-4EF5-B960-02126763F38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2" creationId="{972D773E-7ADC-409C-B521-18AD96456E6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3" creationId="{00366AF6-F4D0-484E-88EC-BFBD8976259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6" creationId="{BF662E5C-FBAA-4718-902A-FE3123EC26D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7" creationId="{CAE4168C-8934-4106-A570-4DC7F944F6C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8" creationId="{293A7215-50F6-4737-8E08-4C5D88F918E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19" creationId="{5223037F-0A5C-4D3B-8A8A-EDAC0F65610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25" creationId="{E66A63D7-0189-4727-A337-043F3BA1581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27" creationId="{272D7D51-852E-47F9-A7ED-E62E2F986C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28" creationId="{36428A15-A787-4714-AEA4-3EEDEE09FAF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29" creationId="{AF317CE2-2848-4807-B49E-0514419E86E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0" creationId="{2B240C32-A863-467F-98A1-2EA57324781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1" creationId="{54BCBAC4-114C-4F93-9746-E007F052DC8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2" creationId="{9E2A30E8-1501-4C04-A851-AB6396DF124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3" creationId="{45DF442B-1294-4B14-A5FC-8E9DAD521E4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4" creationId="{EDDE72A9-92CE-4AD8-AFF2-29D4359F1A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5" creationId="{2ACA4350-7A09-45AE-913F-28251D3FB8F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6" creationId="{4A98DB2D-AB53-4948-94B9-3B637DA551A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7" creationId="{E15EB0EB-E5D2-48B1-9572-2EB5A04FD61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8" creationId="{4B5D88BC-221E-46B5-B0B2-80D3783D127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39" creationId="{30B8B3E8-298E-4371-AE1C-E2466B07579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2" creationId="{631D308D-A7EC-44CC-86BB-0812501A66D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3" creationId="{1E6544D4-FB45-4065-A7C3-DF05728208C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4" creationId="{4127DB67-6F76-48D1-8C43-F8261789EB1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5" creationId="{9990BB10-97A1-4536-AEDB-2BC2178BACE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6" creationId="{4DCD074A-3A89-4000-B17A-EDC9C1154EF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7" creationId="{AFBCC921-3012-416A-911B-DC301A03B5D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8" creationId="{6B0D61C7-0FF0-49A0-84D0-47E7E3FBAD0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49" creationId="{CDDF07A8-7208-4B35-A64F-8E17ECBEFBE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50" creationId="{217D72A6-6EDF-4DFA-A924-66144E23398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51" creationId="{4155E16B-A6A6-4D5F-A635-87EB48988B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52" creationId="{D2510242-78F4-4C5A-959E-2B36310747D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53" creationId="{5C4A8F31-C8DB-4CAB-BB16-26016DBD377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1:44.280" v="3202" actId="478"/>
          <ac:spMkLst>
            <pc:docMk/>
            <pc:sldMk cId="19761106" sldId="324"/>
            <ac:spMk id="354" creationId="{4C1B68D2-5AA2-4D7E-9FEE-A9D8F6C9F32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55" creationId="{089D552C-F6CC-407E-A35B-E426023A33B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57" creationId="{5BD60611-9F5D-435B-967C-0A42C33FE5D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58" creationId="{2D3E64A1-C6A9-407B-B1C5-3069DBD8704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3" creationId="{ABB7D607-2634-4384-AAD7-EAB3D563457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5" creationId="{81580F70-45C3-489C-8415-D18C9E88AA2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6" creationId="{98138159-5A76-4677-A476-0000A7A9E97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7" creationId="{BBD5DAE3-32B7-4621-9696-6D5E73012A4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8" creationId="{8F92A83D-BD57-49F4-9650-3ABD91C738B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69" creationId="{99F76FDE-97C4-4C81-9EDD-6662C1905A4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0" creationId="{FA2B1C6A-9CE2-4150-ACCE-C7F05113FD3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1" creationId="{31212B94-4ADD-4887-9574-69263198522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2" creationId="{44416A0C-ACDB-4D52-A350-AFBAE713087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3" creationId="{9A161DD5-4FB0-47E1-94D8-2736BDEA8AE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4" creationId="{4BD1A3C8-36AC-4D25-93DF-D5B868B9EE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5" creationId="{140B6542-83E4-4430-9A42-4FF88A7261D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6" creationId="{A7493745-C0D8-41DF-98BC-ACA407D5AB5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7" creationId="{FD140338-761E-4499-B152-B5A9FFE5B10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8" creationId="{1807CF68-919C-4425-83CF-0F9DBB4734D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79" creationId="{8AB56954-81EF-4024-99E4-317D4EB3021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0" creationId="{8BD467A2-602C-4189-836F-4A4377DFC76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4" creationId="{BC39D99E-76AA-4344-A2E3-34746B8E8ED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5" creationId="{88259BF0-31BD-4E3D-A95F-2694B3B2F89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6" creationId="{8FF0DED0-36CE-4459-A16F-5B7459B4BA0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7" creationId="{302C5DB9-F311-47DA-9256-10396C0CF46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88" creationId="{AC8F8DAC-EE70-4526-A996-AB3A38C50A2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2" creationId="{F33AC62D-A1C5-48FC-A332-6EEBDD232C5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3" creationId="{ED99F463-C008-4F73-ACD2-C43CD651245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4" creationId="{B4E7E7EB-4686-44B0-AFB1-17AD9B02526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5" creationId="{FE9706AC-D48A-40B5-9671-D0C99C4D118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6" creationId="{C2F1EE3F-C500-4972-9470-8E32C666389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7" creationId="{504B5C3B-3808-4162-92E5-1029D990B15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8" creationId="{521653FC-C4F0-4807-87AC-3C896B64703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399" creationId="{D1035B39-141E-4507-B09E-00F4094D35F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00" creationId="{3D44F926-C8CB-4111-A5D9-AE7FBE9A215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03" creationId="{FA533B73-EF05-4A0C-92F0-AF0C207A782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04" creationId="{C26B32A0-AAA6-44A6-AC3F-9399567D091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05" creationId="{43AC32BF-30FC-4D2B-A117-6E92048C71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06" creationId="{32281D01-8266-4032-AA3E-BC00B25656D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11" creationId="{79DDA9B1-0737-4B7B-9BDA-25C721E7242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12" creationId="{0E859BEB-BEED-4886-88AE-0F296FDA6DA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13" creationId="{25703F48-BDC7-430D-B70E-A132879E439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14" creationId="{71179442-DCD2-4AFB-82FC-DCA0DE15E44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15" creationId="{7DF190B8-F1D3-4A3B-A965-D5D40E42884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0" creationId="{090D9BA1-9F57-4E08-BDDC-3CF2E8FB54A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2" creationId="{8C747FB3-064F-4CF6-AF39-3FBDA2C5E93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3" creationId="{0242B602-8890-4B68-8FE1-313279AAD3B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4" creationId="{A004C9FC-0A2D-4550-A39E-CB96A6DCA37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5" creationId="{68DD1869-0780-436B-B094-564EBF6D283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6" creationId="{6BF54CC0-12B2-4ACF-BCDA-D6A7D286DA5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7" creationId="{A65C8101-8D59-467F-BE5E-27069B9689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8" creationId="{1078BBAA-66DC-42C7-950F-6F58DA21336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29" creationId="{55B40572-79D3-4B9D-B1E4-3065D630437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0" creationId="{21E07717-9891-40FD-A033-DE61A30EFAB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1" creationId="{4E3665AF-351A-4912-845D-21235F166FC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2" creationId="{83DD688D-89CC-45C3-B7FF-DBA1719EA48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3" creationId="{1599CF2F-3377-48C3-A36A-7D4DA523B7B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4" creationId="{DED4A7AF-38EB-4E9C-ABB5-30C982B4727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7" creationId="{5B0F3536-BE5C-477B-A8A3-A108E7D8045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8" creationId="{7F6D5BB1-B1E9-4859-9867-656A76BD6CB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39" creationId="{0ACDE9DF-63AF-4887-8E14-05F74C3971A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0" creationId="{88F7C04D-0C93-4E0B-A847-C357BF5216E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1" creationId="{29A6C224-EC8B-4073-A151-0DFBE957BA5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2" creationId="{6C3517CF-4FA4-445A-9183-CCB37BC3D0E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3" creationId="{96C983D5-F1F3-42B0-95F1-9A5EC33FB70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4" creationId="{80919ABA-4612-4A16-9A27-7A4D4A07C49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5" creationId="{104EB237-3E33-40AF-BA6E-A6A89E7F75D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6" creationId="{B867E95D-3D76-415E-BB5E-747B6FABC1C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7" creationId="{3265F3F9-97CA-4F50-A733-6DE184FCC2C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8" creationId="{4B28A6CF-0C15-4725-8DEB-669A564FCD0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49" creationId="{41BD9BF7-1673-4809-9E0E-EE82338216A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0" creationId="{202A73AD-51FD-4AC7-99FB-9DFACF20F86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1" creationId="{366BF101-D925-43E0-B526-663E01A7C9F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2" creationId="{06336686-6957-4166-AD75-2ACC51075D7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3" creationId="{A14C4AFF-B1CB-436B-93FA-F7764FD9268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4" creationId="{4B459CBA-9F25-4028-BBF5-12971C835A1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5" creationId="{16C279EB-A90B-4EB0-B998-9396C2F00C4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6" creationId="{09993647-52C0-4806-A94C-F897B93266C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7" creationId="{459FD784-D8CF-4CCD-A336-9F3F71263E2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8" creationId="{7110E71E-2AB9-4A30-B668-0FDC5BD7DB3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59" creationId="{C1B4B529-37C9-464F-9C7C-C1C1372AD4A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0" creationId="{FB7CA098-3284-4008-B5F2-9F8344F25B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1" creationId="{97B25EF6-C0D0-4809-ACF7-67253265BAD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2" creationId="{BAAF6393-93F9-411B-BEE2-BF97917C5C6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3" creationId="{9EA8A21B-9B6F-4F31-B300-C50F8C20CE1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4" creationId="{12BFE4FE-826C-4347-9BD7-5F87C9D94F7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5" creationId="{DDA7C2A4-DB31-48A6-99BE-488B8C6E99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6" creationId="{543D3421-BC68-4E2F-831A-F1D18334140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7" creationId="{AC6825D8-22C7-4B4C-9363-A1FC9693F3B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8" creationId="{05CC52AA-CF90-45AD-8EA4-7CABB2EDF50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69" creationId="{95152224-F41B-4E5A-8EA5-ACC75E6E9FD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70" creationId="{6C058E11-E08F-478A-BC3B-D5E51300F1F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71" creationId="{5C05AF88-5A40-4D78-A380-5D56E6FEC0F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50.646" v="3243"/>
          <ac:spMkLst>
            <pc:docMk/>
            <pc:sldMk cId="19761106" sldId="324"/>
            <ac:spMk id="472" creationId="{8794CB84-6845-406C-97DB-E585055FBA3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73" creationId="{60317590-B8C1-4304-BD79-42B983C74D0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75" creationId="{F89151D6-C560-4CD8-8F95-FB4556B1673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76" creationId="{07C7586D-4BFA-445F-A806-702FA060A3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1" creationId="{FA87E5B2-7DAF-466C-BB8B-339DF394FD0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3" creationId="{C68B301E-EA18-40B8-BC22-E2B26B94348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4" creationId="{2829726A-8486-479D-869C-1A72A696E90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5" creationId="{29BB5A72-44F9-4160-8906-52AC1B5597B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6" creationId="{83F18736-3BC1-400D-AE82-60CEF89E2FB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7" creationId="{6BE1F895-D849-4575-B1E8-E2826A8AA8F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8" creationId="{B249268D-743B-4821-9E6A-C4287E57CCB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89" creationId="{2B425AC8-B725-4020-9224-EE241B3DDB5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0" creationId="{3E9B31E4-371A-4D50-BF75-CE668BE4E0C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1" creationId="{C6DA0A0F-1733-4A4B-814D-A991F7FE080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2" creationId="{ED48B265-125B-44D1-B94B-23761E969EB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3" creationId="{F25D32DD-5208-4D5E-BF7D-0B645B4B290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4" creationId="{E95D8629-763B-4535-98B1-5A6FF298B55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5" creationId="{BF8B09CE-8B92-4539-869F-DD0608BCEE4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6" creationId="{ED895668-8689-4C3F-8746-50E53A2AA23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7" creationId="{AC3CAA3A-693C-4ADC-8231-0B7CBFC1690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498" creationId="{4B194348-3DA6-42B9-9275-B8B7655C408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02" creationId="{5682ACD0-0C30-4CFD-9114-865CC668BC4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03" creationId="{C2446835-D24B-4297-8577-8417900A7AC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04" creationId="{CE9E5919-1E68-4748-8B36-3CFE1C81515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05" creationId="{5E449EF1-9AB1-4FA1-A9BF-5DE50FE0E22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06" creationId="{952D4157-3A36-48F0-851C-8BADC114418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0" creationId="{21C13D93-F5A1-417F-83C6-4F072A4686C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1" creationId="{DF4616AF-6F69-43DE-900A-3A9ADD17379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2" creationId="{5EE46703-58E8-446B-B2DF-354DF6377E8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3" creationId="{E2516E58-8AE3-42B6-99FC-C93AB43575C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4" creationId="{EED9A6B1-C2F6-4561-BA91-08FC92EC63C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5" creationId="{4AE83225-6FD3-445A-ADC3-E27DE9D0D3F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6" creationId="{118CD205-4F00-4472-A184-E63EFDDC861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7" creationId="{EEC2F41B-7169-41D9-A24C-BF0E0A60C47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18" creationId="{19DE4885-C226-434E-AA8B-5B8474E1782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21" creationId="{3B27E92C-B17F-473C-895D-3BA4FBC8919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22" creationId="{8FD2C347-D2A9-40A5-8544-03BFFC51998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23" creationId="{01C74DCC-A3E9-40C7-A690-98D52D5F438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24" creationId="{CC609458-181E-42D9-A72C-587F3524AF1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29" creationId="{489B223F-D31F-4EBD-AA6F-54DEBDBB766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30" creationId="{58DF6D90-30D8-46CE-9C0D-B29B585323D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31" creationId="{0AA89F6C-37F6-43AF-AA5F-4A19C5A5E08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32" creationId="{E79B117B-1FE9-4E90-9E3C-0E9B1613241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33" creationId="{787A87EF-45C8-4965-8992-C896471ED2F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38" creationId="{73F2CABB-E9AC-4E74-984E-310B7CBC0AF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0" creationId="{216CD116-9A79-4596-B2C0-34323AA977B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1" creationId="{184FF1B2-853F-4EB4-A97E-47DCBAE3663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2" creationId="{7EAA0F1C-FF05-49B2-8447-1DD0A377777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3" creationId="{B560C0C8-2A55-4ABC-8D33-3F04145360D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4" creationId="{10E584C2-13E5-4CB4-A451-D10AD3DDA79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5" creationId="{CE3185EE-E3B0-4EFA-B041-3C85882A5E0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6" creationId="{9C2627E2-BB23-41EB-A58B-C02E6C113A0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7" creationId="{77F6B1C5-052F-4616-962F-2FBB6924A46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8" creationId="{0AEBDD1A-5EE7-4043-9FED-E58B3D03B2C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49" creationId="{BD04DFC7-1AA3-460C-9117-6723CE81785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0" creationId="{703B9507-3918-42E9-9694-B3A3EF2C0EA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1" creationId="{606E8BFB-D11D-45E9-87B8-2EEC6CE7998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2" creationId="{E16C5B95-4276-492D-B5BC-F7E78E5CD43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5" creationId="{B468B8E0-E596-4C80-92C2-515DCE9BEB3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6" creationId="{DDE5488F-F374-47C2-865A-FC05A8B1B88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7" creationId="{F43F5F91-382C-4DE7-9B82-F91707228CE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8" creationId="{5CEC91A2-D30D-4309-AEF6-99D591768AB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59" creationId="{9F7706BB-EC4B-4EF4-99F6-03A8DC9E7A6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0" creationId="{1E73C803-93A1-4116-86CB-AB101507583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1" creationId="{2E326924-5F81-4FDD-BEE6-29207A9BB922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2" creationId="{59ABF53B-2C46-4DF4-82E4-B655A79BEC6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3" creationId="{AF7C1F68-03F2-42F5-A5B2-7C1EDB14D39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4" creationId="{ECB7643A-7EC3-4016-AD7B-99E05EC103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5" creationId="{B828EC2C-EB4E-42B7-B8C1-1BFFD904A62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6" creationId="{8FD2B30D-1784-41A1-AE23-5E355A7A388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7" creationId="{FB77CE8C-5163-41FD-BABB-4B0F51FA7FE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8" creationId="{5C408563-CD06-4A7A-B6CD-9B70CEE10FE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69" creationId="{950E9365-0786-4ECC-BBBB-84C5129EF39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0" creationId="{B1BF9501-6E35-42C0-8E7F-383E3CA5E3B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1" creationId="{6ECEDF9A-E01A-4141-ACC9-D0901B22FAC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2" creationId="{7A0769F1-C0A0-497B-BE09-EC1E7F68C9A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3" creationId="{B123A5B7-460D-4503-A349-F5BC60B7FB5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4" creationId="{C59E68F2-2578-42E9-B563-70B0F46E3BA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5" creationId="{D98D85A4-0E01-4E2A-A60C-153E36B4F28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6" creationId="{69D77256-27B0-45AB-9A60-A5C6C503F90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7" creationId="{47678F20-26E8-488B-A7C4-535597C412E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8" creationId="{1A1F672C-BFF6-41F0-BF05-47ED15C527C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79" creationId="{E08E2CBF-827C-40F4-8F48-B8CCB948ADE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0" creationId="{0F1BFC76-A3B0-4C74-BF81-22D99F0FF0F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1" creationId="{92C8A66D-69CD-44D6-A5C2-BA49214F0CF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2" creationId="{16F572C8-824D-4203-A97A-230B330C6A3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3" creationId="{4EAF6320-C84B-461A-BB9D-B1E56E39C6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4" creationId="{DFBA36E7-931D-4F1B-895A-3EAB1BC63F7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5" creationId="{4F0D36E2-FE50-43BC-A169-41DEB474B41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6" creationId="{3B97A548-A08F-4085-8EC0-C6E65108C07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7" creationId="{91131736-8234-4116-8463-3A196DF10E0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8" creationId="{E0B3DC42-809F-4D7E-8F57-9753C63E5A2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89" creationId="{559A1E41-6B18-451B-9063-D9CFCC3D0AB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8.004" v="3458" actId="21"/>
          <ac:spMkLst>
            <pc:docMk/>
            <pc:sldMk cId="19761106" sldId="324"/>
            <ac:spMk id="590" creationId="{23EEE0E5-7F5B-4A35-AA7D-3B0710F5E87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43.099" v="3456" actId="478"/>
          <ac:spMkLst>
            <pc:docMk/>
            <pc:sldMk cId="19761106" sldId="324"/>
            <ac:spMk id="591" creationId="{C99B032D-242F-4099-906F-DBE7181E4C0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0:10.875" v="3356"/>
          <ac:spMkLst>
            <pc:docMk/>
            <pc:sldMk cId="19761106" sldId="324"/>
            <ac:spMk id="592" creationId="{E946CAFB-7D13-49C7-83EF-69ED25BCAA7C}"/>
          </ac:spMkLst>
        </pc:spChg>
        <pc:spChg chg="mod">
          <ac:chgData name="Tan, Vincent (Allianz SE Singapore Branch)" userId="bbbac036-7280-4bac-9c0d-a2e2069e1d29" providerId="ADAL" clId="{9705F007-7B00-4062-93A0-BA587561B57D}" dt="2021-07-14T03:00:09.898" v="3355"/>
          <ac:spMkLst>
            <pc:docMk/>
            <pc:sldMk cId="19761106" sldId="324"/>
            <ac:spMk id="594" creationId="{C0D2202F-1F27-4B41-B5B0-CA9F387A7411}"/>
          </ac:spMkLst>
        </pc:spChg>
        <pc:spChg chg="mod">
          <ac:chgData name="Tan, Vincent (Allianz SE Singapore Branch)" userId="bbbac036-7280-4bac-9c0d-a2e2069e1d29" providerId="ADAL" clId="{9705F007-7B00-4062-93A0-BA587561B57D}" dt="2021-07-14T03:00:09.898" v="3355"/>
          <ac:spMkLst>
            <pc:docMk/>
            <pc:sldMk cId="19761106" sldId="324"/>
            <ac:spMk id="595" creationId="{BADB2A5A-4DEE-4F44-B2CD-A85DC32267E3}"/>
          </ac:spMkLst>
        </pc:spChg>
        <pc:spChg chg="mod">
          <ac:chgData name="Tan, Vincent (Allianz SE Singapore Branch)" userId="bbbac036-7280-4bac-9c0d-a2e2069e1d29" providerId="ADAL" clId="{9705F007-7B00-4062-93A0-BA587561B57D}" dt="2021-07-14T03:00:09.898" v="3355"/>
          <ac:spMkLst>
            <pc:docMk/>
            <pc:sldMk cId="19761106" sldId="324"/>
            <ac:spMk id="596" creationId="{1D047DA1-40F3-4380-A235-0EF125F371E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0:23.670" v="3358"/>
          <ac:spMkLst>
            <pc:docMk/>
            <pc:sldMk cId="19761106" sldId="324"/>
            <ac:spMk id="597" creationId="{1304B296-9B0E-43C0-8F0C-0176B0077EC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2:50.981" v="3457" actId="478"/>
          <ac:spMkLst>
            <pc:docMk/>
            <pc:sldMk cId="19761106" sldId="324"/>
            <ac:spMk id="599" creationId="{43380E1B-79F3-4FEC-B2EC-60DE0BADA702}"/>
          </ac:spMkLst>
        </pc:spChg>
        <pc:grpChg chg="add del mod">
          <ac:chgData name="Tan, Vincent (Allianz SE Singapore Branch)" userId="bbbac036-7280-4bac-9c0d-a2e2069e1d29" providerId="ADAL" clId="{9705F007-7B00-4062-93A0-BA587561B57D}" dt="2021-07-14T03:02:43.099" v="3456" actId="478"/>
          <ac:grpSpMkLst>
            <pc:docMk/>
            <pc:sldMk cId="19761106" sldId="324"/>
            <ac:grpSpMk id="13" creationId="{BE9BAEA9-A7F7-40FD-811C-9E8AA72B45B6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7:05.048" v="2987"/>
          <ac:grpSpMkLst>
            <pc:docMk/>
            <pc:sldMk cId="19761106" sldId="324"/>
            <ac:grpSpMk id="73" creationId="{D2673DE2-8325-471B-8F88-D3A18EC9CB9E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7:05.048" v="2987"/>
          <ac:grpSpMkLst>
            <pc:docMk/>
            <pc:sldMk cId="19761106" sldId="324"/>
            <ac:grpSpMk id="108" creationId="{2B22A0F1-E76D-42FD-80F5-CFDE417FED66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7:05.048" v="2987"/>
          <ac:grpSpMkLst>
            <pc:docMk/>
            <pc:sldMk cId="19761106" sldId="324"/>
            <ac:grpSpMk id="131" creationId="{9BE4489C-B5AF-4A54-820E-44AFA5D2D3FA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8:06.620" v="3070" actId="165"/>
          <ac:grpSpMkLst>
            <pc:docMk/>
            <pc:sldMk cId="19761106" sldId="324"/>
            <ac:grpSpMk id="191" creationId="{79781503-DC45-4641-9674-A987087BF0CB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8:06.620" v="3070" actId="165"/>
          <ac:grpSpMkLst>
            <pc:docMk/>
            <pc:sldMk cId="19761106" sldId="324"/>
            <ac:grpSpMk id="226" creationId="{39217286-BEFC-41C1-B213-428CA73B5A4E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8:06.620" v="3070" actId="165"/>
          <ac:grpSpMkLst>
            <pc:docMk/>
            <pc:sldMk cId="19761106" sldId="324"/>
            <ac:grpSpMk id="249" creationId="{DAA8A980-7C23-4435-A52A-C2C1F3A6304F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50:32.117" v="3124"/>
          <ac:grpSpMkLst>
            <pc:docMk/>
            <pc:sldMk cId="19761106" sldId="324"/>
            <ac:grpSpMk id="254" creationId="{4B8B0CED-E3F7-427A-926B-74EF97F7DBF8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50:32.117" v="3124"/>
          <ac:grpSpMkLst>
            <pc:docMk/>
            <pc:sldMk cId="19761106" sldId="324"/>
            <ac:grpSpMk id="262" creationId="{CAB9A90B-1830-4382-A21D-0467C7B81428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4T02:49:52.861" v="3118" actId="164"/>
          <ac:grpSpMkLst>
            <pc:docMk/>
            <pc:sldMk cId="19761106" sldId="324"/>
            <ac:grpSpMk id="267" creationId="{5AC4A3E0-DDDC-4591-AD24-A9DC271BA830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3:00:10.875" v="3356"/>
          <ac:grpSpMkLst>
            <pc:docMk/>
            <pc:sldMk cId="19761106" sldId="324"/>
            <ac:grpSpMk id="593" creationId="{9EDD9BBF-1ACB-44ED-B177-EB132C11F4A7}"/>
          </ac:grpSpMkLst>
        </pc:grp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18" creationId="{62DDB234-584F-421E-9FE3-F08A1BD25A2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21" creationId="{BBF51D1A-3FAD-461B-9287-BA1C22B8BE0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22" creationId="{DEC8C393-C1BB-4FFA-B5C1-74F2AEF85A5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23" creationId="{5537CF0E-F81D-424A-88B0-4E6CDD76470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24" creationId="{0FC20891-E371-499A-9A4F-D401B208AA2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26" creationId="{BE772B48-9DAE-4A5A-B2EC-F26F6555F6D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43" creationId="{F55B977E-43E5-4564-A21D-5761774AB5B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44" creationId="{F284119B-7799-4050-95EF-96CF3FB3D62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45" creationId="{1B80ADBD-76B1-4A9C-A733-5DD3A5A4B78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51" creationId="{FC52E39B-1E02-4197-80B7-9962A823205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52" creationId="{E05A8148-4C48-4845-A928-AD220FA666B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53" creationId="{2EDB0E6A-8DCD-47C9-966F-365CA25CE74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63" creationId="{F971B8AD-543F-436E-B503-66804491FB5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64" creationId="{9079304C-BCD6-4035-B826-DC9369906DA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69" creationId="{66D7CAB9-EDE1-4AE0-8CE1-DD04F7941FC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70" creationId="{5289B800-D0D5-44D4-A9B0-548C31CE33B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71" creationId="{62B45A8B-79F1-4D5B-BEEE-C44433F09E6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72" creationId="{5CC50166-6468-4959-A628-D0EEEC99F83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79" creationId="{4AAF5FB8-D400-4FE8-A2F3-D5160DE83A2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81" creationId="{B4863AD1-E50B-490C-88BD-47151FF21C4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7:05.048" v="2987"/>
          <ac:graphicFrameMkLst>
            <pc:docMk/>
            <pc:sldMk cId="19761106" sldId="324"/>
            <ac:graphicFrameMk id="98" creationId="{CCF17B12-ABCB-467A-A240-F18181AF43B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36" creationId="{33E2560A-BCEF-4CF9-8BDF-63F59E9C48B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39" creationId="{5AEAB514-A8C4-45C3-BAB7-9FA2EF0725E0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40" creationId="{0DEBD914-A7F5-4B8B-A953-5653DA41568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41" creationId="{9F2B8651-E06F-463C-BCBD-3E8E3AE74D8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42" creationId="{64B35230-76AF-4A8F-BE04-C1D6AE89BB7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44" creationId="{251BEDDB-E2A8-4A0F-AF26-2703836F3BA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61" creationId="{31E35237-A632-4A8B-8959-71D44234682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62" creationId="{A59FAD93-F551-4847-A63D-EF32DC66257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63" creationId="{2D2C247C-6F22-401E-A327-C9B40941A31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69" creationId="{62F85527-2E36-46C3-A056-1781BBF1BAA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70" creationId="{65010A75-58D1-4233-B938-DCE31F0A1E7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71" creationId="{11510F4C-28A5-4F48-92B1-E96F7152114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81" creationId="{A621C5CA-EAF8-4B08-86BF-7212F5707FB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82" creationId="{EBDE435A-69AC-4CBB-85CE-5E234D422EA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87" creationId="{BA2C5EE3-53DA-407D-830F-8533EA8B513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88" creationId="{47DAC9BA-35B3-4B77-90F8-8E5B7B8FE0D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89" creationId="{BEB1DFB9-B73B-48B7-9AE5-A134DF9932A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8:22.136" v="3071" actId="478"/>
          <ac:graphicFrameMkLst>
            <pc:docMk/>
            <pc:sldMk cId="19761106" sldId="324"/>
            <ac:graphicFrameMk id="190" creationId="{1775E1DE-0F63-4431-86F4-3086C98B2D8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48:22.136" v="3071" actId="478"/>
          <ac:graphicFrameMkLst>
            <pc:docMk/>
            <pc:sldMk cId="19761106" sldId="324"/>
            <ac:graphicFrameMk id="197" creationId="{3FE77325-671F-4079-97EE-FF1F8DFB7E7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199" creationId="{832470B9-3E90-4570-9B90-0EFEAF2DA2B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46.759" v="3127" actId="478"/>
          <ac:graphicFrameMkLst>
            <pc:docMk/>
            <pc:sldMk cId="19761106" sldId="324"/>
            <ac:graphicFrameMk id="216" creationId="{871F3BE4-59A2-4DF4-8DC7-1CAA0D44668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32.117" v="3124"/>
          <ac:graphicFrameMkLst>
            <pc:docMk/>
            <pc:sldMk cId="19761106" sldId="324"/>
            <ac:graphicFrameMk id="253" creationId="{81F97DAD-ABB3-4ED3-9936-FD7EB9B55BE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0:32.117" v="3124"/>
          <ac:graphicFrameMkLst>
            <pc:docMk/>
            <pc:sldMk cId="19761106" sldId="324"/>
            <ac:graphicFrameMk id="260" creationId="{4F07DA7A-8F83-4E4D-9DA2-61B83D4104E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69" creationId="{DC4B105E-25DF-4827-9E7E-EA519047858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72" creationId="{A5577DF1-217C-465A-9151-3D089FB3102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73" creationId="{A122DB2A-CA22-434C-9ECA-B56BC9B8B30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74" creationId="{F751FE7D-1B22-4B7C-A25E-CD071A73F1A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75" creationId="{A6FEDBAA-ECC6-4539-A011-216D8120A6A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77" creationId="{DC1F8303-3559-4063-B456-353394CFC56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94" creationId="{A9C10194-3E08-48A7-9F2E-EC5F447CBC9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95" creationId="{1E00625F-1B03-4085-87E7-EB95D4052DB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296" creationId="{0A835A99-8103-4FCE-B9E5-B84AA084C38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02" creationId="{3A7A78E3-0C7C-44E4-B624-FBEA8C74067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03" creationId="{4BFD5E37-6D14-4F79-8AF7-8ADF6584CE1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04" creationId="{6AA33A4E-9079-40CB-AE6D-62C9D458FFD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14" creationId="{9FD986A8-1FA0-4387-A767-E7DA9C4B059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15" creationId="{82F712EB-2E3A-44C3-9825-9C96B7D979E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20" creationId="{3971A1B1-F944-4CDB-90F2-C46D00EABA0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21" creationId="{E6F50BED-D614-4C4B-8799-928DBBE9F4C0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22" creationId="{F2C58FD4-312C-4E6E-A70E-25C6AA61FBE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23" creationId="{50CB66A5-3B10-43AD-9954-36E18ECB5F0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1:44.280" v="3202" actId="478"/>
          <ac:graphicFrameMkLst>
            <pc:docMk/>
            <pc:sldMk cId="19761106" sldId="324"/>
            <ac:graphicFrameMk id="340" creationId="{6E93FEF2-62F1-40AE-BFAA-450BE9F65BD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56" creationId="{E40C7D2D-E511-42B6-961E-310C39B058C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59" creationId="{11F04AA1-8680-4C73-81AC-CA5E6E93C4E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60" creationId="{B6154FF4-E34F-4523-B6B3-33AC872EAB9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61" creationId="{A02B2FF0-272D-4365-A517-E542F03EAA0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62" creationId="{C8F6B20A-91F0-4FF6-B5E2-C85FB3359AD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64" creationId="{B4C76DF6-A2C2-4A94-A4C7-0A2A59E8F32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81" creationId="{0745A042-5F35-4360-926D-C805DA09D4F4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82" creationId="{C5245AFA-7028-46C9-97E3-47D128869BE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83" creationId="{55AA104F-EE85-4FFC-BA69-D7B96EFC0EC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89" creationId="{0A8F6E08-F0FD-4910-9A23-84AE92469BE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90" creationId="{24037249-FC89-453E-AEFE-08884915DD2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391" creationId="{A3D69060-9EDE-46C4-BF6E-3B1B60408FE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01" creationId="{79AF3B71-C2EA-4C7F-948F-EA0B2E55BEE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02" creationId="{4ECC248E-B9D4-4221-83DA-D2D96D5F15F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07" creationId="{5E3A0A28-742C-4851-A02B-E69E8AE4177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08" creationId="{583E8D94-473E-4A66-BF80-AACD267103B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09" creationId="{B6561D78-2D80-435B-B5C9-BDCE6F1CCE2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10" creationId="{88640DB3-25D8-4CF0-A3FA-8259BFFB2CB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16" creationId="{70EB1D57-D4CB-4060-A26C-0639578A1C1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18" creationId="{3612DC07-7C73-4788-A7E2-E2FB83BCAFDD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2:57:50.646" v="3243"/>
          <ac:graphicFrameMkLst>
            <pc:docMk/>
            <pc:sldMk cId="19761106" sldId="324"/>
            <ac:graphicFrameMk id="435" creationId="{D8801C76-289A-4F88-8A21-66632A37EF7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74" creationId="{45307DF2-2363-4AF1-91E2-E8917B50919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77" creationId="{F95C8662-F4CA-49D6-BE74-4BEC431A560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78" creationId="{0BBF60A8-5DD6-4401-9329-43650F2D9BB9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79" creationId="{23771FD5-C79D-446C-B91F-67D90259A37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80" creationId="{D5D874B0-5AC8-479A-8FD3-4E0145FF527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82" creationId="{747DEB86-60BD-426B-BE28-30F21283C71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499" creationId="{6CF0B832-7970-4DB3-AEFE-A803869A946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00" creationId="{5D6651B2-8C17-4797-AD4A-AF108777A7C6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01" creationId="{5E2426AE-AF6E-42F8-9BE6-AA00739956F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07" creationId="{4CA87B04-5BB6-42C8-9DCB-D8232EC3520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08" creationId="{8E51093A-DBFB-41E3-B643-F29D8CF36B7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09" creationId="{1802DDA1-CA8C-44CF-BA40-6A58917A2A6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19" creationId="{37250F71-5A2F-4A24-B3E5-7201DCBA56E7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20" creationId="{683A7A81-B3B3-4ECA-9B5E-E07489DB85E8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25" creationId="{B39C9341-E40A-4C20-8C48-8BEAF8DA4A71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26" creationId="{087EBF99-2D58-4118-A9C6-88E49E75AEB5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27" creationId="{58BB4344-B1F9-4A68-9587-42FB74EC212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28" creationId="{29717FB5-930F-414D-AAC7-9BE016D318B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34" creationId="{93546B61-F655-463E-AB20-2FB88C47AF52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36" creationId="{BD794FDB-6041-485D-BE44-B8C533D8465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3:02:58.004" v="3458" actId="21"/>
          <ac:graphicFrameMkLst>
            <pc:docMk/>
            <pc:sldMk cId="19761106" sldId="324"/>
            <ac:graphicFrameMk id="553" creationId="{87327901-00F2-4F14-B666-443369DCF601}"/>
          </ac:graphicFrameMkLst>
        </pc:graphicFrameChg>
        <pc:picChg chg="add del mod">
          <ac:chgData name="Tan, Vincent (Allianz SE Singapore Branch)" userId="bbbac036-7280-4bac-9c0d-a2e2069e1d29" providerId="ADAL" clId="{9705F007-7B00-4062-93A0-BA587561B57D}" dt="2021-07-14T02:47:05.048" v="2987"/>
          <ac:picMkLst>
            <pc:docMk/>
            <pc:sldMk cId="19761106" sldId="324"/>
            <ac:picMk id="80" creationId="{567302E6-7E6B-4BEE-9E73-0730B2FF56FC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47:05.048" v="2987"/>
          <ac:picMkLst>
            <pc:docMk/>
            <pc:sldMk cId="19761106" sldId="324"/>
            <ac:picMk id="82" creationId="{B37D5F3F-CDF8-4AD2-B90A-D65A33A67504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47:05.048" v="2987"/>
          <ac:picMkLst>
            <pc:docMk/>
            <pc:sldMk cId="19761106" sldId="324"/>
            <ac:picMk id="84" creationId="{4C15E6C9-ED4E-4E41-B3CF-FE1985836B01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47:05.048" v="2987"/>
          <ac:picMkLst>
            <pc:docMk/>
            <pc:sldMk cId="19761106" sldId="324"/>
            <ac:picMk id="99" creationId="{A67C9A04-3E0D-4404-B899-57AA6B205DD0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48:22.136" v="3071" actId="478"/>
          <ac:picMkLst>
            <pc:docMk/>
            <pc:sldMk cId="19761106" sldId="324"/>
            <ac:picMk id="198" creationId="{2F2ED384-9506-4C4E-ADC2-4211F3CB12EB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0:46.759" v="3127" actId="478"/>
          <ac:picMkLst>
            <pc:docMk/>
            <pc:sldMk cId="19761106" sldId="324"/>
            <ac:picMk id="200" creationId="{B68B258B-5F80-4D2C-A237-501053F649B0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0:46.759" v="3127" actId="478"/>
          <ac:picMkLst>
            <pc:docMk/>
            <pc:sldMk cId="19761106" sldId="324"/>
            <ac:picMk id="202" creationId="{46C090CF-E063-4131-803C-68D0DAA74193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0:46.759" v="3127" actId="478"/>
          <ac:picMkLst>
            <pc:docMk/>
            <pc:sldMk cId="19761106" sldId="324"/>
            <ac:picMk id="217" creationId="{4CCF5D67-5D32-4549-94F3-AA462B5CAA66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0:32.117" v="3124"/>
          <ac:picMkLst>
            <pc:docMk/>
            <pc:sldMk cId="19761106" sldId="324"/>
            <ac:picMk id="261" creationId="{5F24833D-1E76-4E25-9372-BC05F3FD1B19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1:44.280" v="3202" actId="478"/>
          <ac:picMkLst>
            <pc:docMk/>
            <pc:sldMk cId="19761106" sldId="324"/>
            <ac:picMk id="324" creationId="{60CD6C16-182F-4173-AC65-E6FD933E08FE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1:44.280" v="3202" actId="478"/>
          <ac:picMkLst>
            <pc:docMk/>
            <pc:sldMk cId="19761106" sldId="324"/>
            <ac:picMk id="326" creationId="{1CC12ECE-F285-4FAD-8C85-97B0A40B678E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1:44.280" v="3202" actId="478"/>
          <ac:picMkLst>
            <pc:docMk/>
            <pc:sldMk cId="19761106" sldId="324"/>
            <ac:picMk id="341" creationId="{29F6E7D9-73E7-444A-BBEC-5EC89A34DE7E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7:50.646" v="3243"/>
          <ac:picMkLst>
            <pc:docMk/>
            <pc:sldMk cId="19761106" sldId="324"/>
            <ac:picMk id="417" creationId="{467B20C6-6BBA-456C-8C11-1397106B8BD3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7:50.646" v="3243"/>
          <ac:picMkLst>
            <pc:docMk/>
            <pc:sldMk cId="19761106" sldId="324"/>
            <ac:picMk id="419" creationId="{8DA228E6-47BC-467C-BB0A-08BA393A841E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7:50.646" v="3243"/>
          <ac:picMkLst>
            <pc:docMk/>
            <pc:sldMk cId="19761106" sldId="324"/>
            <ac:picMk id="421" creationId="{2B4FD59E-EB8A-4A53-924E-D8F45ABB0A3A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2:57:50.646" v="3243"/>
          <ac:picMkLst>
            <pc:docMk/>
            <pc:sldMk cId="19761106" sldId="324"/>
            <ac:picMk id="436" creationId="{E107C0C9-EC82-47A8-BB61-DC7BE8523D1A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02:58.004" v="3458" actId="21"/>
          <ac:picMkLst>
            <pc:docMk/>
            <pc:sldMk cId="19761106" sldId="324"/>
            <ac:picMk id="535" creationId="{71136F3A-952D-4C3D-9802-F9E14B2E81D5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02:58.004" v="3458" actId="21"/>
          <ac:picMkLst>
            <pc:docMk/>
            <pc:sldMk cId="19761106" sldId="324"/>
            <ac:picMk id="537" creationId="{DE58A2AF-EB06-4D55-AC42-0E885D1E6ED6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02:58.004" v="3458" actId="21"/>
          <ac:picMkLst>
            <pc:docMk/>
            <pc:sldMk cId="19761106" sldId="324"/>
            <ac:picMk id="539" creationId="{496D12D1-EE59-40B0-BE0D-C3814F0AC989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02:58.004" v="3458" actId="21"/>
          <ac:picMkLst>
            <pc:docMk/>
            <pc:sldMk cId="19761106" sldId="324"/>
            <ac:picMk id="554" creationId="{CEE39048-6C26-4E06-9178-BDCCD840DE62}"/>
          </ac:picMkLst>
        </pc:picChg>
      </pc:sldChg>
      <pc:sldChg chg="addSp delSp modSp new mod">
        <pc:chgData name="Tan, Vincent (Allianz SE Singapore Branch)" userId="bbbac036-7280-4bac-9c0d-a2e2069e1d29" providerId="ADAL" clId="{9705F007-7B00-4062-93A0-BA587561B57D}" dt="2021-07-15T14:26:31.423" v="9278" actId="1035"/>
        <pc:sldMkLst>
          <pc:docMk/>
          <pc:sldMk cId="2500830620" sldId="325"/>
        </pc:sldMkLst>
        <pc:spChg chg="mod">
          <ac:chgData name="Tan, Vincent (Allianz SE Singapore Branch)" userId="bbbac036-7280-4bac-9c0d-a2e2069e1d29" providerId="ADAL" clId="{9705F007-7B00-4062-93A0-BA587561B57D}" dt="2021-07-15T14:26:31.423" v="9278" actId="1035"/>
          <ac:spMkLst>
            <pc:docMk/>
            <pc:sldMk cId="2500830620" sldId="325"/>
            <ac:spMk id="2" creationId="{D94260D1-C400-40B5-BF78-325FA4720398}"/>
          </ac:spMkLst>
        </pc:spChg>
        <pc:spChg chg="del">
          <ac:chgData name="Tan, Vincent (Allianz SE Singapore Branch)" userId="bbbac036-7280-4bac-9c0d-a2e2069e1d29" providerId="ADAL" clId="{9705F007-7B00-4062-93A0-BA587561B57D}" dt="2021-07-14T00:59:42.018" v="2478" actId="478"/>
          <ac:spMkLst>
            <pc:docMk/>
            <pc:sldMk cId="2500830620" sldId="325"/>
            <ac:spMk id="3" creationId="{373F4515-8B75-43BC-9F7C-5625AB5841C0}"/>
          </ac:spMkLst>
        </pc:spChg>
        <pc:spChg chg="mod">
          <ac:chgData name="Tan, Vincent (Allianz SE Singapore Branch)" userId="bbbac036-7280-4bac-9c0d-a2e2069e1d29" providerId="ADAL" clId="{9705F007-7B00-4062-93A0-BA587561B57D}" dt="2021-07-15T14:26:31.423" v="9278" actId="1035"/>
          <ac:spMkLst>
            <pc:docMk/>
            <pc:sldMk cId="2500830620" sldId="325"/>
            <ac:spMk id="5" creationId="{60310303-3B44-4A16-894C-C0D27EA0080F}"/>
          </ac:spMkLst>
        </pc:spChg>
        <pc:graphicFrameChg chg="add mod modGraphic">
          <ac:chgData name="Tan, Vincent (Allianz SE Singapore Branch)" userId="bbbac036-7280-4bac-9c0d-a2e2069e1d29" providerId="ADAL" clId="{9705F007-7B00-4062-93A0-BA587561B57D}" dt="2021-07-15T12:59:47.012" v="7881" actId="1036"/>
          <ac:graphicFrameMkLst>
            <pc:docMk/>
            <pc:sldMk cId="2500830620" sldId="325"/>
            <ac:graphicFrameMk id="7" creationId="{161BA1E8-0D9E-4918-9399-CE7ADD0DFC1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00:55.435" v="7948" actId="1035"/>
          <ac:graphicFrameMkLst>
            <pc:docMk/>
            <pc:sldMk cId="2500830620" sldId="325"/>
            <ac:graphicFrameMk id="8" creationId="{4254703B-CF56-476C-901F-4CA2093AFD47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2:59:40.065" v="7879" actId="1035"/>
          <ac:graphicFrameMkLst>
            <pc:docMk/>
            <pc:sldMk cId="2500830620" sldId="325"/>
            <ac:graphicFrameMk id="9" creationId="{B019878C-7D70-4C2F-B262-C81638D1D15C}"/>
          </ac:graphicFrameMkLst>
        </pc:graphicFrameChg>
      </pc:sldChg>
      <pc:sldChg chg="addSp delSp modSp add mod">
        <pc:chgData name="Tan, Vincent (Allianz SE Singapore Branch)" userId="bbbac036-7280-4bac-9c0d-a2e2069e1d29" providerId="ADAL" clId="{9705F007-7B00-4062-93A0-BA587561B57D}" dt="2021-07-15T14:10:35.193" v="9028" actId="255"/>
        <pc:sldMkLst>
          <pc:docMk/>
          <pc:sldMk cId="84913962" sldId="326"/>
        </pc:sldMkLst>
        <pc:spChg chg="add del mod">
          <ac:chgData name="Tan, Vincent (Allianz SE Singapore Branch)" userId="bbbac036-7280-4bac-9c0d-a2e2069e1d29" providerId="ADAL" clId="{9705F007-7B00-4062-93A0-BA587561B57D}" dt="2021-07-15T06:42:59.320" v="7468"/>
          <ac:spMkLst>
            <pc:docMk/>
            <pc:sldMk cId="84913962" sldId="326"/>
            <ac:spMk id="2" creationId="{C9C08191-F395-4826-8BB0-6DB142304A1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1:14:33.083" v="2677" actId="478"/>
          <ac:spMkLst>
            <pc:docMk/>
            <pc:sldMk cId="84913962" sldId="326"/>
            <ac:spMk id="3" creationId="{A56F89CC-DD93-4E99-898A-32031D4D0A93}"/>
          </ac:spMkLst>
        </pc:spChg>
        <pc:spChg chg="mod">
          <ac:chgData name="Tan, Vincent (Allianz SE Singapore Branch)" userId="bbbac036-7280-4bac-9c0d-a2e2069e1d29" providerId="ADAL" clId="{9705F007-7B00-4062-93A0-BA587561B57D}" dt="2021-07-15T13:01:45.883" v="7992" actId="1035"/>
          <ac:spMkLst>
            <pc:docMk/>
            <pc:sldMk cId="84913962" sldId="326"/>
            <ac:spMk id="5" creationId="{0B3FFA01-208A-4221-A526-08D7C9637E7C}"/>
          </ac:spMkLst>
        </pc:spChg>
        <pc:spChg chg="del">
          <ac:chgData name="Tan, Vincent (Allianz SE Singapore Branch)" userId="bbbac036-7280-4bac-9c0d-a2e2069e1d29" providerId="ADAL" clId="{9705F007-7B00-4062-93A0-BA587561B57D}" dt="2021-07-14T01:14:17.907" v="2676" actId="478"/>
          <ac:spMkLst>
            <pc:docMk/>
            <pc:sldMk cId="84913962" sldId="326"/>
            <ac:spMk id="6" creationId="{23E3F422-C026-4059-A606-E77FBBB48988}"/>
          </ac:spMkLst>
        </pc:spChg>
        <pc:spChg chg="del">
          <ac:chgData name="Tan, Vincent (Allianz SE Singapore Branch)" userId="bbbac036-7280-4bac-9c0d-a2e2069e1d29" providerId="ADAL" clId="{9705F007-7B00-4062-93A0-BA587561B57D}" dt="2021-07-14T01:14:17.907" v="2676" actId="478"/>
          <ac:spMkLst>
            <pc:docMk/>
            <pc:sldMk cId="84913962" sldId="326"/>
            <ac:spMk id="7" creationId="{BC9E04DF-96F6-4B7C-BD48-C6964F790794}"/>
          </ac:spMkLst>
        </pc:spChg>
        <pc:spChg chg="del">
          <ac:chgData name="Tan, Vincent (Allianz SE Singapore Branch)" userId="bbbac036-7280-4bac-9c0d-a2e2069e1d29" providerId="ADAL" clId="{9705F007-7B00-4062-93A0-BA587561B57D}" dt="2021-07-14T01:14:17.907" v="2676" actId="478"/>
          <ac:spMkLst>
            <pc:docMk/>
            <pc:sldMk cId="84913962" sldId="326"/>
            <ac:spMk id="8" creationId="{55B404C5-25A5-49E7-A6F2-FC5A91B675CD}"/>
          </ac:spMkLst>
        </pc:spChg>
        <pc:spChg chg="mod">
          <ac:chgData name="Tan, Vincent (Allianz SE Singapore Branch)" userId="bbbac036-7280-4bac-9c0d-a2e2069e1d29" providerId="ADAL" clId="{9705F007-7B00-4062-93A0-BA587561B57D}" dt="2021-07-15T13:01:45.883" v="7992" actId="1035"/>
          <ac:spMkLst>
            <pc:docMk/>
            <pc:sldMk cId="84913962" sldId="326"/>
            <ac:spMk id="10" creationId="{C6F7D0FA-5728-4FA5-A0F7-B361A95BC0D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1:14:33.083" v="2677" actId="478"/>
          <ac:spMkLst>
            <pc:docMk/>
            <pc:sldMk cId="84913962" sldId="326"/>
            <ac:spMk id="13" creationId="{C0EDBB79-A14D-4BFB-A222-33533DBC447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1:14:33.083" v="2677" actId="478"/>
          <ac:spMkLst>
            <pc:docMk/>
            <pc:sldMk cId="84913962" sldId="326"/>
            <ac:spMk id="16" creationId="{913BA3EC-85C1-4625-BB64-DA2768B4B88E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1:36:57.322" v="2723" actId="1038"/>
          <ac:spMkLst>
            <pc:docMk/>
            <pc:sldMk cId="84913962" sldId="326"/>
            <ac:spMk id="18" creationId="{28791E0B-6510-4C09-8357-C147B75AB409}"/>
          </ac:spMkLst>
        </pc:spChg>
        <pc:spChg chg="mod">
          <ac:chgData name="Tan, Vincent (Allianz SE Singapore Branch)" userId="bbbac036-7280-4bac-9c0d-a2e2069e1d29" providerId="ADAL" clId="{9705F007-7B00-4062-93A0-BA587561B57D}" dt="2021-07-14T01:16:02.505" v="2681"/>
          <ac:spMkLst>
            <pc:docMk/>
            <pc:sldMk cId="84913962" sldId="326"/>
            <ac:spMk id="21" creationId="{CC8E73F5-EDA3-41C4-B490-ECFDBB61A674}"/>
          </ac:spMkLst>
        </pc:spChg>
        <pc:spChg chg="mod">
          <ac:chgData name="Tan, Vincent (Allianz SE Singapore Branch)" userId="bbbac036-7280-4bac-9c0d-a2e2069e1d29" providerId="ADAL" clId="{9705F007-7B00-4062-93A0-BA587561B57D}" dt="2021-07-14T01:16:02.505" v="2681"/>
          <ac:spMkLst>
            <pc:docMk/>
            <pc:sldMk cId="84913962" sldId="326"/>
            <ac:spMk id="22" creationId="{00352BD5-B448-49B1-A78C-B30544AF3E97}"/>
          </ac:spMkLst>
        </pc:spChg>
        <pc:spChg chg="mod">
          <ac:chgData name="Tan, Vincent (Allianz SE Singapore Branch)" userId="bbbac036-7280-4bac-9c0d-a2e2069e1d29" providerId="ADAL" clId="{9705F007-7B00-4062-93A0-BA587561B57D}" dt="2021-07-14T01:16:02.505" v="2681"/>
          <ac:spMkLst>
            <pc:docMk/>
            <pc:sldMk cId="84913962" sldId="326"/>
            <ac:spMk id="23" creationId="{9A65D3A2-C79B-467B-B3D5-D7D86CF5627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25" creationId="{27F20A60-0CBC-49ED-B901-47FB04351D1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26" creationId="{8B98920F-270E-42E0-B1F0-1815B2EBF2F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27" creationId="{A2996F4A-C079-4FF6-B2A7-9E514774B2B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28" creationId="{4C030E65-3CEB-4517-8E9C-BA32E7DAF36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29" creationId="{EF9A332E-93F4-449A-91F1-8293E3C10BC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0" creationId="{D625C898-2CE6-4B64-965E-D25371367A46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1" creationId="{905608C7-5BAF-4088-BD2C-90204BBA1C60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2" creationId="{94A6621C-9FD4-44F0-88FE-5356457E3600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3" creationId="{4EC7B138-9494-4467-9AA1-A568AE92E10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4" creationId="{B1B69ABB-246F-48D5-905F-63DC2249169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5" creationId="{663A5659-D643-4759-9412-75258614116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6" creationId="{9D672E51-3696-4FDC-9A40-A5A283E071D9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7" creationId="{AF5EBCC4-AD04-457B-A96F-EB8EBB3BD33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8" creationId="{E9297586-691A-43CF-A2A8-62BBE88FE15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39" creationId="{5340A6E6-73B2-45C0-BF42-8EE4B2C409D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40" creationId="{236F0AA8-3169-4F4B-8D73-AB038EE3AAC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41" creationId="{4E273EEF-1E96-4D94-AD97-05D6161CD88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42" creationId="{013C73A7-DF59-4522-ACF1-AFE64B1D890D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43" creationId="{06F9D779-6807-4E3F-801D-5A27A47DCB1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44" creationId="{33545A13-DEEE-47BF-BD5A-C9A3C1730CE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68" creationId="{B9A57F75-1B9B-48E9-B822-E0008CDE1C5C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69" creationId="{855FB73C-E64D-4459-B5C4-B7D35FBD592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0" creationId="{926D9934-5EB4-4B49-AC90-3A1E84FAF1A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1" creationId="{B4FFEE2F-0CF3-411B-A8C0-08FBDFED2659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2" creationId="{B5A1D47B-042A-4B3D-8597-4C3B3CD5FD4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3" creationId="{8CE3772E-9676-449D-B3A3-57C9E9F2686C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4" creationId="{006D7DBD-BEB3-4807-89F3-EC5E6453DD7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5" creationId="{A3F81853-846C-4630-8F5E-31A1E86F2BE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6" creationId="{C4D5C0D7-1723-4A35-8BAB-79199C9D26F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7" creationId="{852217E5-5B76-4C0D-9396-112871E5807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8" creationId="{F6EFBA3D-5E82-4B60-AFFA-89933B5E7A1C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79" creationId="{716BB9CF-D98D-49AB-A249-51368EAE51FC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0" creationId="{D72B7134-EE79-4B3F-91F6-1FB52D22B229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1" creationId="{B27B9D8C-686B-4177-A934-03C74C13073D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2" creationId="{B2510B90-FA18-41C7-84A0-9011D977A64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3" creationId="{6F340279-5EA6-444A-A131-84204A84877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4" creationId="{60F41E31-0733-41F3-A2D3-2912AA05A7B6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5" creationId="{F51FE834-C3D1-4510-99EC-5D05A1A5E05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6" creationId="{A23FBBD1-6C72-435E-A645-C5A97F52C59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7" creationId="{0AFB4091-8523-4075-AF7C-EE1DCA86F53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8" creationId="{FA7F58AB-77EA-41B7-A397-C978834AB76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89" creationId="{059A7909-63FF-493D-B545-114A895607E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0" creationId="{49A656F4-F4A8-4FC5-A1B5-B3CE8F9F5BB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1" creationId="{D3B3C405-22DA-451A-B444-B630EE13330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2" creationId="{34F6D71E-FEA9-46EB-8342-7F3ECEDB0DC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3" creationId="{4D2FB392-7B03-4CEF-8D83-CEF5AC2C89D0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4" creationId="{AF21ED0E-88AE-421D-89BA-628F3E41F1C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5" creationId="{F14E5CB6-80BB-459E-8ADD-4295C53BBCC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6" creationId="{4DF0FC29-BE54-4CF3-94B5-6C4C5D47B45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7" creationId="{E1174E66-ECCC-4A76-954D-E01E7663A3A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99" creationId="{D7FE3C8E-D9F7-4EA1-83B4-8807D94CEE1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101" creationId="{7F95F4A3-68B1-4FC6-B88A-7BB85DEBF71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8:51.951" v="2757"/>
          <ac:spMkLst>
            <pc:docMk/>
            <pc:sldMk cId="84913962" sldId="326"/>
            <ac:spMk id="102" creationId="{40BF53A1-8B2A-4F9A-9EFC-0C016398B61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4" creationId="{EBF0E0CB-FDF9-4015-A9A3-DA309DA1146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5" creationId="{343FA608-774F-433D-A2BC-20242BE3E19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6" creationId="{03AA7F27-AB81-4D1B-A1FF-62F1645A87C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7" creationId="{66FE2F0B-F078-4054-99C9-C9FDEC30E1D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8" creationId="{923DE45E-79B7-4BE9-99D8-5EBA848BD62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09" creationId="{3EF6B2B3-0E0B-48E2-A7A0-498EF6A6C31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0" creationId="{73C6A8A2-19AA-46BD-8D64-D9837C29B33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1" creationId="{0DFDFBDD-F38D-4803-AF9C-A08EA9969C1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2" creationId="{2CAC4D4F-3557-427A-B7ED-A0FE33A3466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3" creationId="{E3CBB8A4-E6FC-455C-92E8-4CD3DF6DF5D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4" creationId="{9BDC4759-FAA2-4814-9225-3B5B5BAA034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5" creationId="{0A5AF216-3C1C-45B6-BF03-AB21E211CBD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6" creationId="{8A6CE844-FCBF-4704-88B0-ECB7982A778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7" creationId="{2CAAD455-5B7D-4437-8C65-D325583317C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8" creationId="{8F9B203A-C504-4A35-BAC7-847B3DB74B8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19" creationId="{C25A4966-837C-4EFE-9C55-DAC220290CE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20" creationId="{1FC332E8-A6D2-4E0B-BFE8-8EFB83AF60C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21" creationId="{518BBE07-ACB4-44C0-96AD-09E21C26633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22" creationId="{E93B6B92-A8EA-4DCA-8A25-2ADBC982213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23" creationId="{19AD8AFF-6FC4-4B97-92C6-6D673D95846D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47" creationId="{392207F9-1EFF-4EF0-BA3C-E0B955F4227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48" creationId="{0E9E04EA-068B-4A4E-B9DC-59D96A79EFF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49" creationId="{6D73B738-3147-42E8-983D-69A67C97E75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0" creationId="{C32A576F-7E73-4616-A32B-427C0DC0FFFE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1" creationId="{4BCFC357-819C-424B-99E5-FD8084258D7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2" creationId="{DD9751F9-DC87-479F-BB2B-820527B737D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3" creationId="{992AB45C-3D8E-4326-BA2F-1762EB74A29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4" creationId="{FA247767-2BF4-4B78-9B85-3BD89BDD9B09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5" creationId="{BD4E13D4-76E0-446A-AE6E-01924B77FF5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6" creationId="{93709E15-518D-4206-ACB8-338FAA7B12F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7" creationId="{8FCB07AB-374D-48D2-8890-48EEF76FC51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8" creationId="{2974F57A-79EE-4741-8AFD-DED8B23DFDF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59" creationId="{8B2A54A9-4323-45D5-990C-27A907BC467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0" creationId="{FEFB74EC-AD9D-41E2-AD06-97602104827D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1" creationId="{6A0A0A46-2EA9-4F07-B667-552369E465B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2" creationId="{F539DA49-F1C1-452A-B7D7-FAE2D4DFF943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3" creationId="{54DEA6FD-F807-42A1-9BD5-287797E6A5C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4" creationId="{7C6C9416-C9D8-4E21-BC38-20F8A9781E76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5" creationId="{B5C61167-0C85-4C19-B04C-78E9F8D974CB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6" creationId="{2732183D-D973-480F-958A-5F34498B5BBF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7" creationId="{2104B3A0-74FE-49A9-B160-6695D6A94E9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8" creationId="{A797AC98-09D5-41F6-B175-2405136B2BF4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69" creationId="{1DBEEFE8-A123-4499-A59A-74B885959BE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0" creationId="{B42F8849-AEDA-4EC3-A729-38983598CE7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1" creationId="{79D94E8B-4DF7-48DE-916C-8C89684ABBF1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2" creationId="{2DAE0F4C-8C0D-48C6-9684-31740EF94788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3" creationId="{ECCB36A8-E9FB-4FD2-A925-21FA8DD473A2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4" creationId="{8B0B7984-995C-4313-B92F-34B6DC4CB300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5" creationId="{653A5F34-EEBD-4DA3-A5AA-F53ABE637E1A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6" creationId="{3803B2E4-02A0-4EC1-BF16-638924A75DB7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78" creationId="{990D18B3-5B24-4509-8B0C-9003D2391705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80" creationId="{BA7B8675-C776-48B9-9734-4B07F1E92589}"/>
          </ac:spMkLst>
        </pc:spChg>
        <pc:spChg chg="mod">
          <ac:chgData name="Tan, Vincent (Allianz SE Singapore Branch)" userId="bbbac036-7280-4bac-9c0d-a2e2069e1d29" providerId="ADAL" clId="{9705F007-7B00-4062-93A0-BA587561B57D}" dt="2021-07-14T01:39:32.126" v="2761"/>
          <ac:spMkLst>
            <pc:docMk/>
            <pc:sldMk cId="84913962" sldId="326"/>
            <ac:spMk id="181" creationId="{7CE186CA-832B-4542-8D8D-28895FD8D8E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4" creationId="{B2F723BF-5B35-4441-81B9-8582F14AD51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5" creationId="{77DFBC0C-8BDD-44BD-9760-CA4A6B4A4B1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6" creationId="{BFAB2A2A-2A91-495E-8BC2-A53D9AEF767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7" creationId="{621256A5-A807-45C9-8CF0-A39CA46A852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8" creationId="{613DFF00-B922-4B3B-8B68-580FEA7DEE1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89" creationId="{41580F5A-60F3-440F-B7CD-B10207D5317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0" creationId="{2E582335-4D71-44A6-A6D0-A438F6D4EE4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1" creationId="{E44A7AAB-FA44-493A-9266-733289B750A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2" creationId="{08E55B33-ADD0-416F-B9F1-2A685298752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3" creationId="{E2C384B8-94F0-42D0-B0A9-BBCD5691DE3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4" creationId="{469664BD-4F61-4D41-AF48-ECB40BC4D03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5" creationId="{ACD0A999-7101-4EBB-AC4F-7174E3208BF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6" creationId="{56FB8D11-B877-4C1B-9320-D8F01DC2820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7" creationId="{49411016-6B9F-469B-805C-F1759A65982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8" creationId="{A1C2E9E9-8DC3-423F-9D78-F889BE52D89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199" creationId="{9A46AF17-C3D1-4E49-942D-8FCC5C97A04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00" creationId="{6272F9AA-979E-464A-A9B5-696A36645AC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01" creationId="{B8DC6390-0B6F-4A21-BEF9-F2B73E1FC80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02" creationId="{990BC7A7-8BB0-467C-A072-1F1072427F3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03" creationId="{673A188A-F5B3-4FCB-B022-AE97953839E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27" creationId="{F3626707-5690-41FB-A5C7-49733765E40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28" creationId="{FD4A210C-D9B8-48DE-8C67-3FBD5C00AAB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29" creationId="{1C8F8432-28F5-4041-872C-FD250E46F1E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0" creationId="{8345023B-F8AD-4690-BC71-EBD181F2634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1" creationId="{605FD47E-74ED-4BC3-AF35-650C31F5A5A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2" creationId="{B9790FFD-993A-4ACD-9EA0-FD46BDC9A4B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3" creationId="{DF6B220C-4F89-41A1-A9E8-2A453BEDFF4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4" creationId="{10DDCDB8-C740-4CE3-A3CF-7D83C8BEDD7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5" creationId="{314881C1-64A0-44C3-895C-C01F38AB4DC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6" creationId="{B0DBEDC1-77B0-41FD-8B06-71A574FEA52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7" creationId="{73E2F6B2-2078-45E5-9E74-A478310D825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8" creationId="{EFD197C8-00FE-4C22-81B0-838529565E5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39" creationId="{4D17401E-CB59-412A-9EF3-02DD33E0A45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0" creationId="{FD7B2334-D5AD-4A96-BEDF-91A675239FF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1" creationId="{5D305D3E-2368-49C7-8ACE-39F3A92D356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2" creationId="{0B116846-875A-4799-AEF0-B9A984B2A42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3" creationId="{5D1A3377-EABD-48E7-9320-809B56A312B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4" creationId="{B4BC60B8-444C-4224-BBF4-5825AE41868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5" creationId="{8CD0896D-15CF-41FF-B71A-85E4F35CB9F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6" creationId="{D9F25047-B6B7-435E-87B4-48F7C34F411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7" creationId="{0BDF2915-7BF7-43A8-9962-CC5357C2742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8" creationId="{FBA688ED-4B6C-403F-8D1F-C0187BC87CD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49" creationId="{AED0DAB5-7E77-4067-9495-B71E1E82876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0" creationId="{CDA27927-3BBB-4309-A18A-4E0EF3A3230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1" creationId="{DE6910EC-9448-4D6B-857A-E7E9D3048AE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2" creationId="{9BDDADE9-BDFB-480D-8411-99416933BC1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3" creationId="{B90D7043-2106-48F6-BD46-08ED086F1E5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4" creationId="{BF518F7B-35EF-46DB-B986-397573D6442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5" creationId="{972AC0BE-B32D-4DB7-BDE4-962409E6F57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6" creationId="{C42CF6DD-4B19-40B7-B948-91E412CC8D6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58" creationId="{04DAC607-26EA-4190-A3F0-20F215764BB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60" creationId="{9AA3068A-1E47-4FDA-8A26-A2244CAFECA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2:31.008" v="2910"/>
          <ac:spMkLst>
            <pc:docMk/>
            <pc:sldMk cId="84913962" sldId="326"/>
            <ac:spMk id="261" creationId="{F4716893-D5A5-4089-8FBA-1B4A83781D7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23:53.194" v="4085"/>
          <ac:spMkLst>
            <pc:docMk/>
            <pc:sldMk cId="84913962" sldId="326"/>
            <ac:spMk id="263" creationId="{A5595FE9-57AE-423F-8F37-769706DE3B14}"/>
          </ac:spMkLst>
        </pc:spChg>
        <pc:grpChg chg="add mod">
          <ac:chgData name="Tan, Vincent (Allianz SE Singapore Branch)" userId="bbbac036-7280-4bac-9c0d-a2e2069e1d29" providerId="ADAL" clId="{9705F007-7B00-4062-93A0-BA587561B57D}" dt="2021-07-14T01:16:13.725" v="2683" actId="1076"/>
          <ac:grpSpMkLst>
            <pc:docMk/>
            <pc:sldMk cId="84913962" sldId="326"/>
            <ac:grpSpMk id="20" creationId="{30685DC8-5EC7-4999-9E99-977AC5FAE55C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3:24:35.710" v="8624" actId="14100"/>
          <ac:grpSpMkLst>
            <pc:docMk/>
            <pc:sldMk cId="84913962" sldId="326"/>
            <ac:grpSpMk id="24" creationId="{48C0DFB3-3050-4422-AF52-9C9B9C9144F4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1:38:51.951" v="2757"/>
          <ac:grpSpMkLst>
            <pc:docMk/>
            <pc:sldMk cId="84913962" sldId="326"/>
            <ac:grpSpMk id="98" creationId="{B57793C1-D656-40C3-BE87-5347CF06734F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1:39:33.058" v="2762"/>
          <ac:grpSpMkLst>
            <pc:docMk/>
            <pc:sldMk cId="84913962" sldId="326"/>
            <ac:grpSpMk id="103" creationId="{C778F31D-677B-4161-A8E4-8D2BE013E37C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1:39:32.126" v="2761"/>
          <ac:grpSpMkLst>
            <pc:docMk/>
            <pc:sldMk cId="84913962" sldId="326"/>
            <ac:grpSpMk id="177" creationId="{43CE79E5-2CA3-427B-AC57-FC45F63213A0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2:32.356" v="2911"/>
          <ac:grpSpMkLst>
            <pc:docMk/>
            <pc:sldMk cId="84913962" sldId="326"/>
            <ac:grpSpMk id="183" creationId="{3D23AE56-364C-482F-BCE9-F7EF01C4F639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2:42:31.008" v="2910"/>
          <ac:grpSpMkLst>
            <pc:docMk/>
            <pc:sldMk cId="84913962" sldId="326"/>
            <ac:grpSpMk id="257" creationId="{81C50AF6-79EE-4B87-942F-0AF02E7E48FB}"/>
          </ac:grpSpMkLst>
        </pc:grpChg>
        <pc:graphicFrameChg chg="add del mod modGraphic">
          <ac:chgData name="Tan, Vincent (Allianz SE Singapore Branch)" userId="bbbac036-7280-4bac-9c0d-a2e2069e1d29" providerId="ADAL" clId="{9705F007-7B00-4062-93A0-BA587561B57D}" dt="2021-07-14T02:42:30.211" v="2909" actId="478"/>
          <ac:graphicFrameMkLst>
            <pc:docMk/>
            <pc:sldMk cId="84913962" sldId="326"/>
            <ac:graphicFrameMk id="182" creationId="{8F850FFA-F941-42E7-AB7A-75EF26E9B31C}"/>
          </ac:graphicFrameMkLst>
        </pc:graphicFrameChg>
        <pc:graphicFrameChg chg="add del mod modGraphic">
          <ac:chgData name="Tan, Vincent (Allianz SE Singapore Branch)" userId="bbbac036-7280-4bac-9c0d-a2e2069e1d29" providerId="ADAL" clId="{9705F007-7B00-4062-93A0-BA587561B57D}" dt="2021-07-14T03:23:50.948" v="4083" actId="478"/>
          <ac:graphicFrameMkLst>
            <pc:docMk/>
            <pc:sldMk cId="84913962" sldId="326"/>
            <ac:graphicFrameMk id="262" creationId="{BCC4473E-0399-4359-88CA-B9AFB0DA6F5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10:35.193" v="9028" actId="255"/>
          <ac:graphicFrameMkLst>
            <pc:docMk/>
            <pc:sldMk cId="84913962" sldId="326"/>
            <ac:graphicFrameMk id="264" creationId="{A86C8DDB-B295-411C-80F9-F1EFE9EC4FC1}"/>
          </ac:graphicFrameMkLst>
        </pc:graphicFrameChg>
        <pc:picChg chg="del">
          <ac:chgData name="Tan, Vincent (Allianz SE Singapore Branch)" userId="bbbac036-7280-4bac-9c0d-a2e2069e1d29" providerId="ADAL" clId="{9705F007-7B00-4062-93A0-BA587561B57D}" dt="2021-07-14T01:14:38.545" v="2678" actId="478"/>
          <ac:picMkLst>
            <pc:docMk/>
            <pc:sldMk cId="84913962" sldId="326"/>
            <ac:picMk id="11" creationId="{537232A2-A777-4072-8380-89CF76DC65FD}"/>
          </ac:picMkLst>
        </pc:picChg>
        <pc:picChg chg="del">
          <ac:chgData name="Tan, Vincent (Allianz SE Singapore Branch)" userId="bbbac036-7280-4bac-9c0d-a2e2069e1d29" providerId="ADAL" clId="{9705F007-7B00-4062-93A0-BA587561B57D}" dt="2021-07-14T01:14:38.545" v="2678" actId="478"/>
          <ac:picMkLst>
            <pc:docMk/>
            <pc:sldMk cId="84913962" sldId="326"/>
            <ac:picMk id="14" creationId="{11CAD713-C1AA-4266-8DBF-7D7D60AC2656}"/>
          </ac:picMkLst>
        </pc:picChg>
        <pc:picChg chg="del">
          <ac:chgData name="Tan, Vincent (Allianz SE Singapore Branch)" userId="bbbac036-7280-4bac-9c0d-a2e2069e1d29" providerId="ADAL" clId="{9705F007-7B00-4062-93A0-BA587561B57D}" dt="2021-07-14T01:14:38.545" v="2678" actId="478"/>
          <ac:picMkLst>
            <pc:docMk/>
            <pc:sldMk cId="84913962" sldId="326"/>
            <ac:picMk id="17" creationId="{C1EBA57F-39CC-4F49-A4D6-7586208F7031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1:16:06.667" v="2682" actId="478"/>
          <ac:picMkLst>
            <pc:docMk/>
            <pc:sldMk cId="84913962" sldId="326"/>
            <ac:picMk id="19" creationId="{EB882DAB-3514-4449-8964-6FE41B00F34D}"/>
          </ac:picMkLst>
        </pc:pic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45" creationId="{23F5591D-DA9A-462E-8FBA-5E40ABA6FD2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46" creationId="{40FC80BC-317C-4B7F-9D24-F92B0B9F0B0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47" creationId="{6CA19025-3B0D-4B12-9330-A3AAA4ABB11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48" creationId="{A537149B-F6A9-41E8-B3A6-FD442180441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49" creationId="{1F879120-A0B2-4BA1-A5D8-3E0D4A1A3F5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0" creationId="{DE6401E1-395A-45C2-B5A5-45C50E1319B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1" creationId="{64BB0574-D68A-4F17-BAE8-77A2B17128C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2" creationId="{3BBC3B89-C03D-4172-B783-295B928427D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3" creationId="{D3F56918-A897-4C7C-9102-8D65FA05AB9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4" creationId="{62D5A5AB-CB84-4660-A492-B960958A0B8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5" creationId="{397D1E85-BD56-4C9E-A908-4358167EE93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6" creationId="{384AF678-12F4-4E70-824C-9ED0B2E4C9D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7" creationId="{76D0018F-107E-442F-9743-B2A92D216E6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8" creationId="{E63C8BEF-1ED1-4C39-A074-BDC273D6FD1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59" creationId="{23C7136E-0FA8-44B9-8764-30C200BC6CD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0" creationId="{7541EA4F-A17B-4742-A636-5E618240FBD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1" creationId="{7AFDAC71-8FBB-427E-9F89-D61A4601A6A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2" creationId="{EF1072C9-633F-4E64-A579-08F9E807BB9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3" creationId="{27EBA09E-E811-410B-818D-F44A7F7C78A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4" creationId="{C8C8C5F3-B278-47D0-8C0A-09F5FE2C1E4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5" creationId="{85FED5C6-E5C7-42BE-9895-907C9CDC440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6" creationId="{C20E2F8C-6D24-4EE4-BD42-96340FADEEC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67" creationId="{DE54353D-CC98-4C58-B2CA-D03A0FB61E0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8:51.951" v="2757"/>
          <ac:cxnSpMkLst>
            <pc:docMk/>
            <pc:sldMk cId="84913962" sldId="326"/>
            <ac:cxnSpMk id="100" creationId="{3F782CEA-672D-4C05-AFB2-432CA31B0F7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4" creationId="{12320238-81C9-4D85-8857-D131414E87D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5" creationId="{54376278-8BE8-4DAE-8B23-B57A4288335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6" creationId="{080B411F-CD98-4065-BD47-259A2F5BD20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7" creationId="{4D082D47-B3C6-4C53-AEF7-51D614438CA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8" creationId="{9BB3D3D4-3081-4622-89AE-F4D304E716D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29" creationId="{489202FB-7E88-46FF-8792-3DF38DEB5E2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0" creationId="{982806D0-996C-4B84-A6ED-133786E51F9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1" creationId="{D2E793DD-BB7B-4416-A7AC-615B8A5442D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2" creationId="{CAC1A09F-E37A-4576-BAFF-25B41F157C28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3" creationId="{C252C7A9-95DD-47C7-8069-3CD549B1E12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4" creationId="{F220F82A-810A-4EB1-B835-FFBFFDED63D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5" creationId="{6586B050-6CF5-45AA-8376-53D8A09FBC3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6" creationId="{6648923F-707E-4E47-BCDB-66C05DE705C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7" creationId="{8361C503-E26E-47DC-8AC5-717170B6752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8" creationId="{BFD69BDB-C285-4D16-80D1-4C8E2CACE9B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39" creationId="{C207610E-D39A-4005-B386-D8E9138FBD8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0" creationId="{5AA1999A-3F86-4F02-8552-EF937E98D6D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1" creationId="{2AE93DB9-079C-4D75-BF3B-83E2C23FA3A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2" creationId="{567256BC-15E6-4B41-90A8-01F0275EEA1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3" creationId="{3A6C20B0-1E83-4DB7-9B89-EB5FA778D5C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4" creationId="{5D554C58-4F98-44B5-83C4-B2352283335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5" creationId="{B0262F04-7C55-475F-BB9D-C8AB6B8BC61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46" creationId="{60EDDE9E-14AB-4310-AFB7-E8B1FEAEC61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1:39:32.126" v="2761"/>
          <ac:cxnSpMkLst>
            <pc:docMk/>
            <pc:sldMk cId="84913962" sldId="326"/>
            <ac:cxnSpMk id="179" creationId="{05F80F12-7FD3-4C7E-98A0-70C9BAFB3D18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4" creationId="{76C467E1-59A4-4DC2-B1EC-B975F0F4223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5" creationId="{24F42C7E-1E4E-4A55-8C19-0897378222A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6" creationId="{3F24B7F2-5BEB-4B43-A515-057F47536CA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7" creationId="{9306DF0F-97FC-4623-92FC-B74D533D009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8" creationId="{DD0D61CA-E511-4322-AA71-D8577226E55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09" creationId="{CF0834D8-49C7-4B8A-9FB6-A7AB2AEC0AC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0" creationId="{CBC67EFD-0442-426A-B93C-41D2EFF01EB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1" creationId="{EA6EC703-8330-43F4-8054-429A337AA1D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2" creationId="{757AD83E-CC45-4307-A013-057D897A09F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3" creationId="{D7E8E317-5599-4A4F-AD75-A73CFCA51E3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4" creationId="{753C4D21-A17D-406E-9112-BDCD9F0A4FC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5" creationId="{F337D16D-87A4-4436-A5F2-779DC23304C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6" creationId="{6378E232-ED17-4920-8762-068B1A14C3C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7" creationId="{9A794D88-892C-49A0-97CF-B012C9D969D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8" creationId="{4874AD05-637E-4E0E-A3DC-3562464C3DC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19" creationId="{C701B420-7571-4F59-9FD1-3A8076597FEA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0" creationId="{8B1491A3-7312-4F2A-A820-D62CA568BDD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1" creationId="{51919443-69CC-412D-A928-08C93313CB5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2" creationId="{02E32C2E-42FD-4EC7-914F-E5775E82A5A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3" creationId="{6186569C-B17F-4363-B630-F9242AB4BD2B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4" creationId="{47C3E86D-A124-424C-9198-CC66E4C9293B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5" creationId="{E21E87B5-9264-46CE-9282-AF1A24BDEE9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26" creationId="{D169DDBB-DC1D-46E1-8E9E-956346E8893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2:31.008" v="2910"/>
          <ac:cxnSpMkLst>
            <pc:docMk/>
            <pc:sldMk cId="84913962" sldId="326"/>
            <ac:cxnSpMk id="259" creationId="{536BA547-F5FA-4A36-A11D-B806DB73E6A8}"/>
          </ac:cxnSpMkLst>
        </pc:cxnChg>
      </pc:sldChg>
      <pc:sldChg chg="addSp delSp modSp add del mod">
        <pc:chgData name="Tan, Vincent (Allianz SE Singapore Branch)" userId="bbbac036-7280-4bac-9c0d-a2e2069e1d29" providerId="ADAL" clId="{9705F007-7B00-4062-93A0-BA587561B57D}" dt="2021-07-15T13:08:41.650" v="8191" actId="47"/>
        <pc:sldMkLst>
          <pc:docMk/>
          <pc:sldMk cId="741205360" sldId="327"/>
        </pc:sldMkLst>
        <pc:spChg chg="mod">
          <ac:chgData name="Tan, Vincent (Allianz SE Singapore Branch)" userId="bbbac036-7280-4bac-9c0d-a2e2069e1d29" providerId="ADAL" clId="{9705F007-7B00-4062-93A0-BA587561B57D}" dt="2021-07-14T02:41:21.110" v="2900" actId="20577"/>
          <ac:spMkLst>
            <pc:docMk/>
            <pc:sldMk cId="741205360" sldId="327"/>
            <ac:spMk id="5" creationId="{0B3FFA01-208A-4221-A526-08D7C9637E7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17.627" v="2894" actId="20577"/>
          <ac:spMkLst>
            <pc:docMk/>
            <pc:sldMk cId="741205360" sldId="327"/>
            <ac:spMk id="10" creationId="{C6F7D0FA-5728-4FA5-A0F7-B361A95BC0D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4" creationId="{10035442-2D59-4743-A93E-5246BA840BC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5" creationId="{0546DBED-D987-44F6-8291-3A6FE4CE150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6" creationId="{A1C351AC-2FE2-43D2-A437-CEB35AEF0E8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7" creationId="{EE17518A-513A-459C-98EC-2F40121DC7B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8" creationId="{2B840937-BF0F-4371-BF9E-19EEA233A03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09" creationId="{8933E8F4-44F1-4FD5-8004-A48776AA77A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0" creationId="{A36C5BD1-D777-49C8-9F56-D67174972BB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1" creationId="{3CE7CBBE-5000-47C3-B4E3-121DC5A83B6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2" creationId="{3F062922-B550-4FDF-8D2C-BDC1F324EC7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3" creationId="{F9064EF8-ED73-4C22-90E2-4B3EA521881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4" creationId="{F7CCBAB3-19B8-4D4E-BBB7-D792869B2C4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5" creationId="{44D2D257-E9CA-4A56-8C02-0A70D1E3019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6" creationId="{4CE3C478-51DE-4FC4-8CDB-4AC6B346D3A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7" creationId="{A28B1BC5-C83C-43F7-A991-74858DE11CA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8" creationId="{5291456C-635F-417B-9C23-8609D4E693D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19" creationId="{40B9FC4D-B076-487F-8711-27FF914B61E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20" creationId="{838749BB-1D84-4A83-AE68-A69C73240B0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21" creationId="{393A61C5-C148-4397-9227-511D0C754C9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22" creationId="{E04E2A8C-79CE-4847-978D-AB85B244F6B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23" creationId="{87F7E31C-9C40-4820-8C97-B7A76EAC095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47" creationId="{8465A52B-71E8-45FA-BF9E-E01F8975F1D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48" creationId="{D915C7EB-1AA1-4357-B7F6-677426FD4AE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49" creationId="{23D321B2-1FA4-40EC-9C3C-C4B8763373C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0" creationId="{087D2536-72DC-4AF7-86D4-48C9A12ACF1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1" creationId="{81848CE7-4972-46FE-9DE7-298C2DBB528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2" creationId="{5DD95ADD-2843-4715-89E2-B40B9A4D72E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3" creationId="{F44999A1-04BB-4E3B-9817-80403215FA4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4" creationId="{50C4E082-7833-432C-8620-C583EA996E6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5" creationId="{82295718-7AC9-46F0-B3C7-DF983FA9AC8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6" creationId="{74C97324-8DD6-463C-B338-6DE726A288A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7" creationId="{B0FFE41C-06EB-4776-93A2-A7480D2F54D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8" creationId="{2CAC5D94-2A5A-4582-8FAF-12AB283EB2F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59" creationId="{0B2C1219-BC1A-4600-B41B-012A926211D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0" creationId="{DDCD7F8D-F7EF-418F-A485-E4CCD17B18E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1" creationId="{FAC4902D-6C2C-4349-9663-D6558072C43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2" creationId="{F06DB111-83B4-4716-9AA0-99741A75242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3" creationId="{867CB2C1-EF59-42DB-9BE5-CF2302D21D9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4" creationId="{EED339A7-B45C-4AFD-9A92-A7D41EFC7C1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5" creationId="{840BB018-6456-47C9-A26E-56AB63D062C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6" creationId="{90EC688A-D5EE-4004-895D-F5037682349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7" creationId="{47C52B0C-5828-4F34-8E71-9C3026CBBCA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8" creationId="{71C1D6FE-6A5B-4AB7-9C33-C1A2659931A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69" creationId="{77B3BE21-5C49-46FD-91B4-E140A4CD640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0" creationId="{7157A092-C4C1-486C-92AF-B52462D55BD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1" creationId="{55292D3E-0CDF-4945-90C3-68A9CB52B24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2" creationId="{E5F9EDDA-BE1E-456F-988F-3BA07ABED75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3" creationId="{5A46105A-EC1F-42A0-8F3F-2475FA4B345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4" creationId="{C9FDBFF1-4A1A-4387-868C-2A375A16EF6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5" creationId="{08FA1719-C9AF-4E88-9FC2-7EA69B5923F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6" creationId="{7BDB4101-50E9-4C91-8ECA-BB97D2ADBDC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78" creationId="{20A4F719-8938-46CF-9078-7413958647C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80" creationId="{5438E47D-AB8D-452D-ACDC-8DDA5B0A75A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1:47.481" v="2902"/>
          <ac:spMkLst>
            <pc:docMk/>
            <pc:sldMk cId="741205360" sldId="327"/>
            <ac:spMk id="181" creationId="{7BB14FD9-1BA6-4EAD-8478-B889B2B7A12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4" creationId="{9F5F5926-92AC-4B42-9E14-DEF35CA615B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5" creationId="{6E2E4719-C2B4-4C88-9D3A-EF7C0BE9F1D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6" creationId="{75241D29-5BF9-47DC-AFD4-F0A8F6C9F67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7" creationId="{92CE9058-DD18-48F2-A2C9-D0E21BA0420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8" creationId="{C9ADDE1D-2A0A-42C0-8C00-C9EA129869F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89" creationId="{2DAD8238-40F4-47A0-817E-DD24106811F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0" creationId="{9EA3D499-2993-4BE7-B1BC-1905FAB4202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1" creationId="{1B68AE48-9339-458D-9590-8232B4161D31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2" creationId="{19210CEA-ECF7-433B-8559-0777A1207FE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3" creationId="{30516928-3A1A-4991-8284-37644DB8925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4" creationId="{B5350241-A77B-47CC-A264-F46211B47C0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5" creationId="{B309C9AD-F424-49C8-8EBC-AC380E296D3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6" creationId="{C31B65E9-C62C-4A95-A319-DD7E375BC99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7" creationId="{4FA59380-B42F-4FEC-A57E-F0E926933C9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8" creationId="{0859F756-FFA0-4A62-ADDE-8C579F3D5CE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199" creationId="{9F177CF9-0544-486E-BC85-F7A3EE2D204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00" creationId="{F924C436-7D09-4FF5-957D-A8E755AF673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01" creationId="{48F52766-C0A5-4C70-9FBF-18322ECAFE4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02" creationId="{03FC9E70-12BB-43E4-90B2-26C9BB24582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03" creationId="{A74D1E5A-4B9B-4FC0-94E4-5076FADEF73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27" creationId="{B96DF42B-B571-44D8-B74F-E14D9E7AC2B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28" creationId="{FA047939-AB56-4FA2-AFDF-1F38EC1CB95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29" creationId="{A755EDAB-F8FC-4095-B725-B84B3082CFF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0" creationId="{568CBAA8-59FF-4EC4-9E1F-FE2FF0D9A5A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1" creationId="{3D332F73-73E4-4E9D-82E9-F8A01CDBBEC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2" creationId="{A074310B-C8D3-4208-B7C7-C1EC8D5F36B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3" creationId="{7930B1CB-8179-471B-8202-B9D3949B8EC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4" creationId="{FA3F65B7-49EC-40D7-91E9-BC251BCE4B2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5" creationId="{C60BBD9A-305D-4066-AD26-8F397613E9E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6" creationId="{E38167AC-AD5D-4DD8-B262-6093537579C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7" creationId="{18567425-96CF-45A9-8B90-CA8F4B6FCBB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8" creationId="{26ABCF86-D4CA-483C-BF30-A3B401D196E4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39" creationId="{C51DBD48-FC72-4DD9-99D3-ECEC223DE4BD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0" creationId="{443D131D-1AE5-40FB-9111-1B49EA516D9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1" creationId="{D6DD8E65-1A73-41D8-8D22-854F14D3FE06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2" creationId="{5E9939BC-F740-498A-8780-42BAEA88596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3" creationId="{5AF2D084-2939-4862-9FB0-BC5C07F9E13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4" creationId="{75A837C1-99A8-414D-B20E-09E26A576A0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5" creationId="{FAC4DEF6-894C-48E0-8424-14E6320706F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6" creationId="{2EB0CB9B-2EAE-42BB-BED6-FBB7D824547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7" creationId="{633357AE-4ABF-4D85-B6F2-791672B211B9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8" creationId="{6C5A5045-7579-4713-A16D-575A0CA1022B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49" creationId="{63F760CA-2CA1-4601-8EC7-EC682D4DAA2E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0" creationId="{EC83EF04-DA89-4307-9648-51AC45033707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1" creationId="{049B884D-95B9-4470-8860-2B81D238A2D5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2" creationId="{06CCE1D0-B730-4A17-91F1-25D12500ED33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3" creationId="{9C6149A8-5909-427F-BE3A-563F2A19D47C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4" creationId="{401AA544-EED5-429D-8223-60600984AC82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5" creationId="{2850C0AF-BDB0-4273-A124-99764EFE0D58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6" creationId="{A132A4B5-0512-4F3E-97CA-422A34CA1C2A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58" creationId="{4ADFB973-CEEC-4A20-ADB5-087A2E43A2B0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60" creationId="{50A7CDA1-165F-4C43-8F25-530623014EAF}"/>
          </ac:spMkLst>
        </pc:spChg>
        <pc:spChg chg="mod">
          <ac:chgData name="Tan, Vincent (Allianz SE Singapore Branch)" userId="bbbac036-7280-4bac-9c0d-a2e2069e1d29" providerId="ADAL" clId="{9705F007-7B00-4062-93A0-BA587561B57D}" dt="2021-07-14T02:43:06.182" v="2915"/>
          <ac:spMkLst>
            <pc:docMk/>
            <pc:sldMk cId="741205360" sldId="327"/>
            <ac:spMk id="261" creationId="{5FEC7AAC-C1F8-42A2-80E7-ED1FA6436A6A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3" creationId="{E72636A4-11F5-4D26-8CE1-ECC14CD5CAF6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4" creationId="{801F7840-CA14-4624-AE3A-E88C8EF4906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5" creationId="{8277EBB6-675A-410F-BDF0-19ACAB250E74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6" creationId="{93D3EDA5-A544-4130-A386-26D6F506F8B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7" creationId="{51CC60F7-7540-4811-ADA3-E91D0CF7661F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8" creationId="{8F4FB901-A474-46CB-8659-3CAA87674E6E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69" creationId="{D0158DA2-82E1-4189-8181-610DF1B6730B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0" creationId="{5276EB7D-AD3C-42FC-9311-5FCA1F68EDBC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1" creationId="{260B23A9-2EB6-43F9-B07C-11D640DAE2FD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2" creationId="{E3C4DC0C-26B5-49C9-B07A-F1063C66A0C7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3" creationId="{31E52561-BF36-4F80-B223-0C593B6C954C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4" creationId="{825EEF8F-5706-4F92-81D4-A09C4C966542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5" creationId="{67BCBB1E-BC0C-4BC2-AD9E-AFEF676C7EE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6" creationId="{5F5F024D-94EC-4102-B84F-F83F044217E3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7" creationId="{29475D30-889D-4677-A6E1-50724B8E2708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8" creationId="{55F8B10D-DF14-4EEE-8326-84A11EA668F2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79" creationId="{B12DEDE9-ACBB-4017-946B-221652BBC037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80" creationId="{1326A1A3-784B-45A5-B0F7-D8FCC4A9A369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81" creationId="{008EFAAC-FDD1-4CA0-8D0F-40F849F4B564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282" creationId="{C4DA9E99-67E8-4F31-B4CF-13F9E189ED56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06" creationId="{6A76F372-A71F-443D-A99F-BD88C17CF54F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07" creationId="{14FBDA4E-AF49-4EC7-9000-285443B79117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08" creationId="{EE717B7A-F726-4EC1-AB04-01173FB824E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09" creationId="{D309A9D7-15FC-4F4C-8B8A-54E2A7810C0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0" creationId="{BF3A957C-B6BC-43FD-9C1B-EA46DD7483FC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1" creationId="{0FC5E689-D66A-45AD-A79A-752FA405DD82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2" creationId="{A6B3905E-7529-42AD-9B20-FB53478538F1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3" creationId="{A913B69E-0C19-4A76-A8D1-B780A8362170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4" creationId="{30000CD2-9206-487E-8952-0791023BBAEB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5" creationId="{A49A683D-4C32-4D0C-972A-AC778C37908E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6" creationId="{646CCC2C-EAD5-4D2C-9C46-E9A4F952B90B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7" creationId="{0880BCE7-7BAE-4726-B2CC-01375FC3CBB0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8" creationId="{6E04164C-65F5-4F1B-B8FF-E2FACC770107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19" creationId="{C9B1F3AE-CB29-411B-9E76-6B72F2AC5644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0" creationId="{D2320627-903A-4159-94FF-3E81FCF9E59F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1" creationId="{4C8D442F-4458-4704-B5B9-9A7F90CC9875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2" creationId="{4CFF60F5-C7F7-4189-AC5B-B6E6625ADB9E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3" creationId="{04FEFF9A-26EA-45BE-89B3-1493967E8C7B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4" creationId="{1A867F49-4201-4EE9-8CCE-ED0768B03E8F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5" creationId="{C020D201-0B99-42A1-BD38-C3B44203AC04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6" creationId="{DBF741E0-AF13-4825-A429-11212D685D34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7" creationId="{CD8A970A-93AF-4E35-B277-8AFE33BDFDCA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8" creationId="{09A9A661-D135-4B87-963E-61645E25634C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29" creationId="{45DC81BB-0BC6-4921-B346-2FF594CDB03E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0" creationId="{CB9A6BF6-4CF1-4115-97A9-7210DF461946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1" creationId="{B8072304-C65D-4257-BBF5-9B82D97170ED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2" creationId="{0B50B9D1-9782-40CF-A5AE-4FDABE4D15A3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3" creationId="{EEA400BB-1DF5-436C-9852-AACA47B0ADBE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4" creationId="{2B7E9C1C-AAB5-4D77-820D-C2498046AB0A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5" creationId="{DBD8C14F-4B7D-416E-9B23-AF3B58030D06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7" creationId="{0B88813C-DC43-47B4-ACFA-23356EEEAE6F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39" creationId="{F9C31C0D-9F74-49CB-93EA-F9E37BA9435D}"/>
          </ac:spMkLst>
        </pc:spChg>
        <pc:spChg chg="mod">
          <ac:chgData name="Tan, Vincent (Allianz SE Singapore Branch)" userId="bbbac036-7280-4bac-9c0d-a2e2069e1d29" providerId="ADAL" clId="{9705F007-7B00-4062-93A0-BA587561B57D}" dt="2021-07-14T03:29:13.643" v="4165"/>
          <ac:spMkLst>
            <pc:docMk/>
            <pc:sldMk cId="741205360" sldId="327"/>
            <ac:spMk id="340" creationId="{775A2F78-E40B-474E-BA5E-4BD7A4DC47E5}"/>
          </ac:spMkLst>
        </pc:spChg>
        <pc:grpChg chg="del">
          <ac:chgData name="Tan, Vincent (Allianz SE Singapore Branch)" userId="bbbac036-7280-4bac-9c0d-a2e2069e1d29" providerId="ADAL" clId="{9705F007-7B00-4062-93A0-BA587561B57D}" dt="2021-07-14T02:41:47.020" v="2901" actId="478"/>
          <ac:grpSpMkLst>
            <pc:docMk/>
            <pc:sldMk cId="741205360" sldId="327"/>
            <ac:grpSpMk id="24" creationId="{48C0DFB3-3050-4422-AF52-9C9B9C9144F4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2:43:05.745" v="2914" actId="478"/>
          <ac:grpSpMkLst>
            <pc:docMk/>
            <pc:sldMk cId="741205360" sldId="327"/>
            <ac:grpSpMk id="103" creationId="{0244A06A-F227-4FC3-AECB-D7FB965875F9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2:41:47.481" v="2902"/>
          <ac:grpSpMkLst>
            <pc:docMk/>
            <pc:sldMk cId="741205360" sldId="327"/>
            <ac:grpSpMk id="177" creationId="{6A4EAEEA-25C3-4777-92C2-42EB78BB79EF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3:28:53.253" v="4159" actId="478"/>
          <ac:grpSpMkLst>
            <pc:docMk/>
            <pc:sldMk cId="741205360" sldId="327"/>
            <ac:grpSpMk id="183" creationId="{5D0BF412-5A8F-481C-A312-CB9A1999CD9D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2:43:06.182" v="2915"/>
          <ac:grpSpMkLst>
            <pc:docMk/>
            <pc:sldMk cId="741205360" sldId="327"/>
            <ac:grpSpMk id="257" creationId="{5DE78D3E-B729-448C-9ABA-69E6D71DD180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07:21.983" v="8184" actId="21"/>
          <ac:grpSpMkLst>
            <pc:docMk/>
            <pc:sldMk cId="741205360" sldId="327"/>
            <ac:grpSpMk id="262" creationId="{09D5FE7D-C63C-4CBA-A980-E443F34C4F48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3:29:13.643" v="4165"/>
          <ac:grpSpMkLst>
            <pc:docMk/>
            <pc:sldMk cId="741205360" sldId="327"/>
            <ac:grpSpMk id="336" creationId="{77C1A5F0-41EC-4D59-B1B0-985538A9F024}"/>
          </ac:grpSpMkLst>
        </pc:grpChg>
        <pc:graphicFrameChg chg="del mod modGraphic">
          <ac:chgData name="Tan, Vincent (Allianz SE Singapore Branch)" userId="bbbac036-7280-4bac-9c0d-a2e2069e1d29" providerId="ADAL" clId="{9705F007-7B00-4062-93A0-BA587561B57D}" dt="2021-07-14T03:29:12.913" v="4164" actId="478"/>
          <ac:graphicFrameMkLst>
            <pc:docMk/>
            <pc:sldMk cId="741205360" sldId="327"/>
            <ac:graphicFrameMk id="182" creationId="{8F850FFA-F941-42E7-AB7A-75EF26E9B31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7:20:40.223" v="7537" actId="255"/>
          <ac:graphicFrameMkLst>
            <pc:docMk/>
            <pc:sldMk cId="741205360" sldId="327"/>
            <ac:graphicFrameMk id="341" creationId="{05F2CB8C-B069-414E-B2E8-0DDCA1B6FF25}"/>
          </ac:graphicFrameMkLst>
        </pc:graphicFrame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45" creationId="{23F5591D-DA9A-462E-8FBA-5E40ABA6FD2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46" creationId="{40FC80BC-317C-4B7F-9D24-F92B0B9F0B0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47" creationId="{6CA19025-3B0D-4B12-9330-A3AAA4ABB11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48" creationId="{A537149B-F6A9-41E8-B3A6-FD442180441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49" creationId="{1F879120-A0B2-4BA1-A5D8-3E0D4A1A3F5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0" creationId="{DE6401E1-395A-45C2-B5A5-45C50E1319B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1" creationId="{64BB0574-D68A-4F17-BAE8-77A2B17128C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2" creationId="{3BBC3B89-C03D-4172-B783-295B928427D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3" creationId="{D3F56918-A897-4C7C-9102-8D65FA05AB99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4" creationId="{62D5A5AB-CB84-4660-A492-B960958A0B8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5" creationId="{397D1E85-BD56-4C9E-A908-4358167EE93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6" creationId="{384AF678-12F4-4E70-824C-9ED0B2E4C9D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7" creationId="{76D0018F-107E-442F-9743-B2A92D216E6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8" creationId="{E63C8BEF-1ED1-4C39-A074-BDC273D6FD1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59" creationId="{23C7136E-0FA8-44B9-8764-30C200BC6CD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0" creationId="{7541EA4F-A17B-4742-A636-5E618240FBD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1" creationId="{7AFDAC71-8FBB-427E-9F89-D61A4601A6A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2" creationId="{EF1072C9-633F-4E64-A579-08F9E807BB9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3" creationId="{27EBA09E-E811-410B-818D-F44A7F7C78A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4" creationId="{C8C8C5F3-B278-47D0-8C0A-09F5FE2C1E4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5" creationId="{85FED5C6-E5C7-42BE-9895-907C9CDC440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6" creationId="{C20E2F8C-6D24-4EE4-BD42-96340FADEEC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020" v="2901" actId="478"/>
          <ac:cxnSpMkLst>
            <pc:docMk/>
            <pc:sldMk cId="741205360" sldId="327"/>
            <ac:cxnSpMk id="67" creationId="{DE54353D-CC98-4C58-B2CA-D03A0FB61E0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4" creationId="{0C5AFD5A-5CBA-4054-968E-BABB1523237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5" creationId="{0DA13525-ADA8-4F8C-B230-FDDC179B5AF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6" creationId="{3AE99C21-14F7-4820-8257-03B24284CD3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7" creationId="{DA0ED294-431E-4F6A-A781-A45119C6FB7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8" creationId="{4237F7A8-2D37-4DB4-A4F7-631FACCC2B6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29" creationId="{BD16F526-0B73-4FE1-A306-B9A52593ED7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0" creationId="{679A692F-F27B-4F9B-9B26-0B913C086C6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1" creationId="{172D3467-89FC-446E-BCC2-F50407962B6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2" creationId="{F3880785-32F1-46A4-830E-8B20780FBED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3" creationId="{57A9436A-EB33-4D95-9C9E-3E2C698D4A8B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4" creationId="{78888FF1-FBED-460D-AB30-60A1E101BAA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5" creationId="{2BF95035-E7C4-4B36-8B3C-03A442FE59A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6" creationId="{9EAC0093-1D94-4ED9-855B-1C3BCE43330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7" creationId="{95B972C8-0026-4533-A2A2-11235D0DB7A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8" creationId="{544B7C7D-FE1D-4A39-ACF5-E869657E589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39" creationId="{FA74C750-DD64-4649-A4AA-747CF45073F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0" creationId="{C2645711-C11F-4F77-ABCC-3EE19D7D422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1" creationId="{DCA68019-18AB-4FF1-BF45-74FA9045591B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2" creationId="{FD433886-46ED-434B-B1A9-02F3D6DA9B40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3" creationId="{8933F93F-489E-4B3D-89F9-5A3FCD24A803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4" creationId="{6CBE4D4B-356F-4195-A546-A42FDF6D307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5" creationId="{0D77D254-911D-48BF-AD97-7323702B98E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5.745" v="2914" actId="478"/>
          <ac:cxnSpMkLst>
            <pc:docMk/>
            <pc:sldMk cId="741205360" sldId="327"/>
            <ac:cxnSpMk id="146" creationId="{70E30220-D954-4099-B72A-0887968A7F0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1:47.481" v="2902"/>
          <ac:cxnSpMkLst>
            <pc:docMk/>
            <pc:sldMk cId="741205360" sldId="327"/>
            <ac:cxnSpMk id="179" creationId="{E18C9A97-B532-416D-9356-26BCFDC191E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4" creationId="{D38B421F-C45D-4F09-899E-B8298D1FF47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5" creationId="{2AD9F148-D8D6-444E-BE77-3CA6A6AE56B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6" creationId="{EB5E1A84-3CE1-4152-A4D6-75FD43594DA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7" creationId="{1CE7D588-565C-47BE-ADE6-627F4377CA4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8" creationId="{CB671F77-5F98-496F-B8AB-DA0C597BC548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09" creationId="{48AC428A-F327-44CC-8D97-419052B5B1C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0" creationId="{76012A73-7864-4A36-96DC-7C2B0BACC3F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1" creationId="{94DE94D5-DE22-4F0C-8CFB-EF1FBEA331E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2" creationId="{2B4E106E-369C-48AD-8C26-E8D10FE0C1F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3" creationId="{8882799A-8682-4BC3-A836-5BA0908B322B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4" creationId="{697DB7CF-48B9-4FE3-8AD3-10E68282F1A5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5" creationId="{E85B7D20-CC95-4012-B4DF-7C3AB1A74D2F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6" creationId="{6C3B4B77-D3E8-4FAD-8F22-D20337D16858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7" creationId="{62CCCA94-BA37-4FF0-9B8E-4AF6DA9304DC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8" creationId="{AF6370E1-0E85-4524-B767-80726E0D6FBE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19" creationId="{8569A44B-8CD6-4098-8B58-10DAEA74625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0" creationId="{7B17C918-E851-408B-9810-D10F0248AA12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1" creationId="{85DEF5AC-44AE-4B74-AE9A-BD523243A0F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2" creationId="{BD30451B-B194-427F-8511-A1B1E891013D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3" creationId="{49B19E81-CDCA-44E0-8BB0-0D426B535277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4" creationId="{5DAEB5EF-E5B6-46B2-9448-4CA3D82C70A4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5" creationId="{BF55E415-7625-4E64-9872-6A2142FA64CA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8:53.253" v="4159" actId="478"/>
          <ac:cxnSpMkLst>
            <pc:docMk/>
            <pc:sldMk cId="741205360" sldId="327"/>
            <ac:cxnSpMk id="226" creationId="{C8836CBB-BD5B-4A07-BC67-358587FB4F06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2:43:06.182" v="2915"/>
          <ac:cxnSpMkLst>
            <pc:docMk/>
            <pc:sldMk cId="741205360" sldId="327"/>
            <ac:cxnSpMk id="259" creationId="{8E341CD5-5AE7-44F7-B324-50F1D4546E8B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3" creationId="{300A9813-9220-4101-9A16-93498C50416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4" creationId="{DE555843-A643-4223-8616-A12C4BC6FED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5" creationId="{9901D739-BA41-4AE7-9241-DF0AC7C6AC3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6" creationId="{A73DD3C8-3332-40D2-BFA1-9A69B902C3A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7" creationId="{FD05B675-1583-4F4A-8A46-60E8B1B651C8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8" creationId="{4F6376FB-1C28-4B25-A554-E72BFA6D309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89" creationId="{BFA04A44-2771-4816-B0F7-6B9FC9E5505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0" creationId="{3940E639-0985-4BC8-B114-43C9713C881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1" creationId="{1A3CC115-6714-42AD-B37A-E5551ED7619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2" creationId="{DA8AFE47-BA56-4209-BE6A-35605DAB168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3" creationId="{9C0AE061-793A-46B8-B1AF-8F3ACCC310C1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4" creationId="{73ABA999-7C31-46A5-AE11-4E3843502F0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5" creationId="{ACC0354E-A6E3-4B3E-8BB5-9672865F9AE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6" creationId="{129F7C34-E8E9-42CB-A3A1-14B5D985560E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7" creationId="{2A224297-74ED-4E42-A139-02D36E9548E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8" creationId="{B501CE99-89F2-4C51-B6A8-0385457A8264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299" creationId="{86CE4B22-F42E-40CB-B10E-EEBBA21962A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0" creationId="{5968FAA3-13E8-4FB3-9F70-5E12DCE91178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1" creationId="{6C2EF112-042D-4ACC-BF31-E49CFD44583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2" creationId="{CFF45C06-AF5A-4BD2-BB22-CB168ED15D3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3" creationId="{194CEABB-B44D-47A3-93D5-5E7DB502711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4" creationId="{06EA1341-4488-4766-9CCC-295DCBBD5C35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1.983" v="8184" actId="21"/>
          <ac:cxnSpMkLst>
            <pc:docMk/>
            <pc:sldMk cId="741205360" sldId="327"/>
            <ac:cxnSpMk id="305" creationId="{BE32F5DE-7A46-4065-B878-CBB700712B91}"/>
          </ac:cxnSpMkLst>
        </pc:cxnChg>
        <pc:cxnChg chg="mod">
          <ac:chgData name="Tan, Vincent (Allianz SE Singapore Branch)" userId="bbbac036-7280-4bac-9c0d-a2e2069e1d29" providerId="ADAL" clId="{9705F007-7B00-4062-93A0-BA587561B57D}" dt="2021-07-14T03:29:13.643" v="4165"/>
          <ac:cxnSpMkLst>
            <pc:docMk/>
            <pc:sldMk cId="741205360" sldId="327"/>
            <ac:cxnSpMk id="338" creationId="{8B5CC872-5B1A-43D3-97F7-05A30E26F762}"/>
          </ac:cxnSpMkLst>
        </pc:cxnChg>
      </pc:sldChg>
      <pc:sldChg chg="addSp delSp modSp new del mod">
        <pc:chgData name="Tan, Vincent (Allianz SE Singapore Branch)" userId="bbbac036-7280-4bac-9c0d-a2e2069e1d29" providerId="ADAL" clId="{9705F007-7B00-4062-93A0-BA587561B57D}" dt="2021-07-14T03:02:33.236" v="3454" actId="47"/>
        <pc:sldMkLst>
          <pc:docMk/>
          <pc:sldMk cId="2259724576" sldId="328"/>
        </pc:sldMkLst>
        <pc:spChg chg="mod">
          <ac:chgData name="Tan, Vincent (Allianz SE Singapore Branch)" userId="bbbac036-7280-4bac-9c0d-a2e2069e1d29" providerId="ADAL" clId="{9705F007-7B00-4062-93A0-BA587561B57D}" dt="2021-07-14T02:59:57.150" v="3354" actId="1036"/>
          <ac:spMkLst>
            <pc:docMk/>
            <pc:sldMk cId="2259724576" sldId="328"/>
            <ac:spMk id="2" creationId="{50DACD3C-D6EF-4CD7-B17C-BADB0718DE5D}"/>
          </ac:spMkLst>
        </pc:spChg>
        <pc:spChg chg="del">
          <ac:chgData name="Tan, Vincent (Allianz SE Singapore Branch)" userId="bbbac036-7280-4bac-9c0d-a2e2069e1d29" providerId="ADAL" clId="{9705F007-7B00-4062-93A0-BA587561B57D}" dt="2021-07-14T02:59:42.682" v="3326" actId="478"/>
          <ac:spMkLst>
            <pc:docMk/>
            <pc:sldMk cId="2259724576" sldId="328"/>
            <ac:spMk id="5" creationId="{1F9EDCAC-350B-40EF-95FD-7AB7872D7EA0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2:59:36.880" v="3325"/>
          <ac:spMkLst>
            <pc:docMk/>
            <pc:sldMk cId="2259724576" sldId="328"/>
            <ac:spMk id="7" creationId="{F95AD4F0-EE64-44EE-A7DB-DE0A95BF5FC9}"/>
          </ac:spMkLst>
        </pc:spChg>
        <pc:spChg chg="mod">
          <ac:chgData name="Tan, Vincent (Allianz SE Singapore Branch)" userId="bbbac036-7280-4bac-9c0d-a2e2069e1d29" providerId="ADAL" clId="{9705F007-7B00-4062-93A0-BA587561B57D}" dt="2021-07-14T02:59:36.880" v="3325"/>
          <ac:spMkLst>
            <pc:docMk/>
            <pc:sldMk cId="2259724576" sldId="328"/>
            <ac:spMk id="9" creationId="{775A921D-4632-4E79-88A7-91EF94C7465A}"/>
          </ac:spMkLst>
        </pc:spChg>
        <pc:spChg chg="mod">
          <ac:chgData name="Tan, Vincent (Allianz SE Singapore Branch)" userId="bbbac036-7280-4bac-9c0d-a2e2069e1d29" providerId="ADAL" clId="{9705F007-7B00-4062-93A0-BA587561B57D}" dt="2021-07-14T02:59:36.880" v="3325"/>
          <ac:spMkLst>
            <pc:docMk/>
            <pc:sldMk cId="2259724576" sldId="328"/>
            <ac:spMk id="10" creationId="{85450CD0-5E0F-4738-A103-3A868733FEC9}"/>
          </ac:spMkLst>
        </pc:spChg>
        <pc:spChg chg="mod">
          <ac:chgData name="Tan, Vincent (Allianz SE Singapore Branch)" userId="bbbac036-7280-4bac-9c0d-a2e2069e1d29" providerId="ADAL" clId="{9705F007-7B00-4062-93A0-BA587561B57D}" dt="2021-07-14T02:59:36.880" v="3325"/>
          <ac:spMkLst>
            <pc:docMk/>
            <pc:sldMk cId="2259724576" sldId="328"/>
            <ac:spMk id="11" creationId="{04714530-46AC-471E-AA86-AC82E23D4F6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0:47.171" v="3376" actId="207"/>
          <ac:spMkLst>
            <pc:docMk/>
            <pc:sldMk cId="2259724576" sldId="328"/>
            <ac:spMk id="12" creationId="{58E1900C-8A92-45B3-B4FB-2CC558A3DA81}"/>
          </ac:spMkLst>
        </pc:spChg>
        <pc:grpChg chg="add mod">
          <ac:chgData name="Tan, Vincent (Allianz SE Singapore Branch)" userId="bbbac036-7280-4bac-9c0d-a2e2069e1d29" providerId="ADAL" clId="{9705F007-7B00-4062-93A0-BA587561B57D}" dt="2021-07-14T02:59:36.880" v="3325"/>
          <ac:grpSpMkLst>
            <pc:docMk/>
            <pc:sldMk cId="2259724576" sldId="328"/>
            <ac:grpSpMk id="8" creationId="{91FCD329-48A6-43A4-BF6C-F59FB8005B63}"/>
          </ac:grpSpMkLst>
        </pc:grpChg>
      </pc:sldChg>
      <pc:sldChg chg="addSp delSp modSp add del mod">
        <pc:chgData name="Tan, Vincent (Allianz SE Singapore Branch)" userId="bbbac036-7280-4bac-9c0d-a2e2069e1d29" providerId="ADAL" clId="{9705F007-7B00-4062-93A0-BA587561B57D}" dt="2021-07-14T02:59:05.432" v="3323" actId="47"/>
        <pc:sldMkLst>
          <pc:docMk/>
          <pc:sldMk cId="976606458" sldId="329"/>
        </pc:sldMkLst>
        <pc:spChg chg="add del mod">
          <ac:chgData name="Tan, Vincent (Allianz SE Singapore Branch)" userId="bbbac036-7280-4bac-9c0d-a2e2069e1d29" providerId="ADAL" clId="{9705F007-7B00-4062-93A0-BA587561B57D}" dt="2021-07-14T02:52:43.566" v="3209" actId="478"/>
          <ac:spMkLst>
            <pc:docMk/>
            <pc:sldMk cId="976606458" sldId="329"/>
            <ac:spMk id="3" creationId="{F7A6E6DA-6DBF-479E-A066-087E3B4E5521}"/>
          </ac:spMkLst>
        </pc:spChg>
        <pc:spChg chg="del">
          <ac:chgData name="Tan, Vincent (Allianz SE Singapore Branch)" userId="bbbac036-7280-4bac-9c0d-a2e2069e1d29" providerId="ADAL" clId="{9705F007-7B00-4062-93A0-BA587561B57D}" dt="2021-07-14T02:53:39.131" v="3228" actId="478"/>
          <ac:spMkLst>
            <pc:docMk/>
            <pc:sldMk cId="976606458" sldId="329"/>
            <ac:spMk id="1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26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2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4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6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3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4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4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5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5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5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53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69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4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7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8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8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9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4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6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0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0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2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4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19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2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5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6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7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8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29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0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1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2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3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4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5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6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7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8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39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1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2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3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4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5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6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2:52:36.403" v="3206" actId="478"/>
          <ac:spMkLst>
            <pc:docMk/>
            <pc:sldMk cId="976606458" sldId="329"/>
            <ac:spMk id="147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49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51" creationId="{FFB34D5A-743A-4B89-8366-EB09C92A065E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2:52:42.071" v="3208" actId="478"/>
          <ac:spMkLst>
            <pc:docMk/>
            <pc:sldMk cId="976606458" sldId="329"/>
            <ac:spMk id="152" creationId="{00000000-0000-0000-0000-000000000000}"/>
          </ac:spMkLst>
        </pc:spChg>
        <pc:spChg chg="del">
          <ac:chgData name="Tan, Vincent (Allianz SE Singapore Branch)" userId="bbbac036-7280-4bac-9c0d-a2e2069e1d29" providerId="ADAL" clId="{9705F007-7B00-4062-93A0-BA587561B57D}" dt="2021-07-14T02:52:34.502" v="3205" actId="478"/>
          <ac:spMkLst>
            <pc:docMk/>
            <pc:sldMk cId="976606458" sldId="329"/>
            <ac:spMk id="154" creationId="{00000000-0000-0000-0000-000000000000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55" creationId="{FFB34D5A-743A-4B89-8366-EB09C92A065E}"/>
          </ac:spMkLst>
        </pc:spChg>
        <pc:spChg chg="add del mod topLvl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56" creationId="{FFB34D5A-743A-4B89-8366-EB09C92A06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57" creationId="{00000000-0000-0000-0000-000000000000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2:53:29.617" v="3226" actId="478"/>
          <ac:spMkLst>
            <pc:docMk/>
            <pc:sldMk cId="976606458" sldId="329"/>
            <ac:spMk id="158" creationId="{FFB34D5A-743A-4B89-8366-EB09C92A06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60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61" creationId="{00000000-0000-0000-0000-00000000000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2:57:19.786" v="3241" actId="21"/>
          <ac:spMkLst>
            <pc:docMk/>
            <pc:sldMk cId="976606458" sldId="329"/>
            <ac:spMk id="177" creationId="{00000000-0000-0000-0000-000000000000}"/>
          </ac:spMkLst>
        </pc:spChg>
        <pc:grpChg chg="del">
          <ac:chgData name="Tan, Vincent (Allianz SE Singapore Branch)" userId="bbbac036-7280-4bac-9c0d-a2e2069e1d29" providerId="ADAL" clId="{9705F007-7B00-4062-93A0-BA587561B57D}" dt="2021-07-14T02:55:32.865" v="3232" actId="165"/>
          <ac:grpSpMkLst>
            <pc:docMk/>
            <pc:sldMk cId="976606458" sldId="329"/>
            <ac:grpSpMk id="68" creationId="{00000000-0000-0000-0000-000000000000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2:55:32.865" v="3232" actId="165"/>
          <ac:grpSpMkLst>
            <pc:docMk/>
            <pc:sldMk cId="976606458" sldId="329"/>
            <ac:grpSpMk id="100" creationId="{00000000-0000-0000-0000-000000000000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2:55:32.865" v="3232" actId="165"/>
          <ac:grpSpMkLst>
            <pc:docMk/>
            <pc:sldMk cId="976606458" sldId="329"/>
            <ac:grpSpMk id="150" creationId="{00000000-0000-0000-0000-000000000000}"/>
          </ac:grpSpMkLst>
        </pc:grp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16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19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20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21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22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27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45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46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47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55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57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58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67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76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77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78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80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82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123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166" creationId="{00000000-0000-0000-0000-000000000000}"/>
          </ac:graphicFrameMkLst>
        </pc:graphicFrameChg>
        <pc:graphicFrameChg chg="add del">
          <ac:chgData name="Tan, Vincent (Allianz SE Singapore Branch)" userId="bbbac036-7280-4bac-9c0d-a2e2069e1d29" providerId="ADAL" clId="{9705F007-7B00-4062-93A0-BA587561B57D}" dt="2021-07-14T02:57:19.786" v="3241" actId="21"/>
          <ac:graphicFrameMkLst>
            <pc:docMk/>
            <pc:sldMk cId="976606458" sldId="329"/>
            <ac:graphicFrameMk id="180" creationId="{00000000-0000-0000-0000-000000000000}"/>
          </ac:graphicFrameMkLst>
        </pc:graphicFrameChg>
        <pc:picChg chg="add del mod">
          <ac:chgData name="Tan, Vincent (Allianz SE Singapore Branch)" userId="bbbac036-7280-4bac-9c0d-a2e2069e1d29" providerId="ADAL" clId="{9705F007-7B00-4062-93A0-BA587561B57D}" dt="2021-07-14T02:57:19.786" v="3241" actId="21"/>
          <ac:picMkLst>
            <pc:docMk/>
            <pc:sldMk cId="976606458" sldId="329"/>
            <ac:picMk id="81" creationId="{00000000-0000-0000-0000-000000000000}"/>
          </ac:picMkLst>
        </pc:picChg>
        <pc:picChg chg="add del">
          <ac:chgData name="Tan, Vincent (Allianz SE Singapore Branch)" userId="bbbac036-7280-4bac-9c0d-a2e2069e1d29" providerId="ADAL" clId="{9705F007-7B00-4062-93A0-BA587561B57D}" dt="2021-07-14T02:57:19.786" v="3241" actId="21"/>
          <ac:picMkLst>
            <pc:docMk/>
            <pc:sldMk cId="976606458" sldId="329"/>
            <ac:picMk id="94" creationId="{00000000-0000-0000-0000-000000000000}"/>
          </ac:picMkLst>
        </pc:picChg>
        <pc:picChg chg="add del">
          <ac:chgData name="Tan, Vincent (Allianz SE Singapore Branch)" userId="bbbac036-7280-4bac-9c0d-a2e2069e1d29" providerId="ADAL" clId="{9705F007-7B00-4062-93A0-BA587561B57D}" dt="2021-07-14T02:57:19.786" v="3241" actId="21"/>
          <ac:picMkLst>
            <pc:docMk/>
            <pc:sldMk cId="976606458" sldId="329"/>
            <ac:picMk id="101" creationId="{00000000-0000-0000-0000-000000000000}"/>
          </ac:picMkLst>
        </pc:picChg>
        <pc:picChg chg="add del">
          <ac:chgData name="Tan, Vincent (Allianz SE Singapore Branch)" userId="bbbac036-7280-4bac-9c0d-a2e2069e1d29" providerId="ADAL" clId="{9705F007-7B00-4062-93A0-BA587561B57D}" dt="2021-07-14T02:57:19.786" v="3241" actId="21"/>
          <ac:picMkLst>
            <pc:docMk/>
            <pc:sldMk cId="976606458" sldId="329"/>
            <ac:picMk id="148" creationId="{00000000-0000-0000-0000-000000000000}"/>
          </ac:picMkLst>
        </pc:picChg>
        <pc:picChg chg="del">
          <ac:chgData name="Tan, Vincent (Allianz SE Singapore Branch)" userId="bbbac036-7280-4bac-9c0d-a2e2069e1d29" providerId="ADAL" clId="{9705F007-7B00-4062-93A0-BA587561B57D}" dt="2021-07-14T02:53:31.253" v="3227" actId="478"/>
          <ac:picMkLst>
            <pc:docMk/>
            <pc:sldMk cId="976606458" sldId="329"/>
            <ac:picMk id="159" creationId="{00000000-0000-0000-0000-000000000000}"/>
          </ac:picMkLst>
        </pc:picChg>
      </pc:sldChg>
      <pc:sldChg chg="addSp delSp modSp new mod">
        <pc:chgData name="Tan, Vincent (Allianz SE Singapore Branch)" userId="bbbac036-7280-4bac-9c0d-a2e2069e1d29" providerId="ADAL" clId="{9705F007-7B00-4062-93A0-BA587561B57D}" dt="2021-07-16T07:36:30.942" v="9806" actId="478"/>
        <pc:sldMkLst>
          <pc:docMk/>
          <pc:sldMk cId="3169770881" sldId="329"/>
        </pc:sldMkLst>
        <pc:spChg chg="mod">
          <ac:chgData name="Tan, Vincent (Allianz SE Singapore Branch)" userId="bbbac036-7280-4bac-9c0d-a2e2069e1d29" providerId="ADAL" clId="{9705F007-7B00-4062-93A0-BA587561B57D}" dt="2021-07-15T13:16:11.126" v="8317" actId="1076"/>
          <ac:spMkLst>
            <pc:docMk/>
            <pc:sldMk cId="3169770881" sldId="329"/>
            <ac:spMk id="2" creationId="{2F86C4AA-7E90-4025-8337-28DB2BB51DF2}"/>
          </ac:spMkLst>
        </pc:spChg>
        <pc:spChg chg="del">
          <ac:chgData name="Tan, Vincent (Allianz SE Singapore Branch)" userId="bbbac036-7280-4bac-9c0d-a2e2069e1d29" providerId="ADAL" clId="{9705F007-7B00-4062-93A0-BA587561B57D}" dt="2021-07-14T03:03:03.080" v="3459" actId="478"/>
          <ac:spMkLst>
            <pc:docMk/>
            <pc:sldMk cId="3169770881" sldId="329"/>
            <ac:spMk id="3" creationId="{4E08B811-03C3-4C48-810A-A90116E2374C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3:03:19.718" v="3461" actId="478"/>
          <ac:spMkLst>
            <pc:docMk/>
            <pc:sldMk cId="3169770881" sldId="329"/>
            <ac:spMk id="5" creationId="{288EF22E-87BD-4A0B-83DC-A6A08014F2D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7:36:28.917" v="9805" actId="478"/>
          <ac:spMkLst>
            <pc:docMk/>
            <pc:sldMk cId="3169770881" sldId="329"/>
            <ac:spMk id="7" creationId="{F481A74C-0E81-456A-B94A-2B0185F617C7}"/>
          </ac:spMkLst>
        </pc:spChg>
        <pc:spChg chg="mod">
          <ac:chgData name="Tan, Vincent (Allianz SE Singapore Branch)" userId="bbbac036-7280-4bac-9c0d-a2e2069e1d29" providerId="ADAL" clId="{9705F007-7B00-4062-93A0-BA587561B57D}" dt="2021-07-14T03:02:30.959" v="3453"/>
          <ac:spMkLst>
            <pc:docMk/>
            <pc:sldMk cId="3169770881" sldId="329"/>
            <ac:spMk id="9" creationId="{B7FEE876-A105-45DC-A421-65D407B0399B}"/>
          </ac:spMkLst>
        </pc:spChg>
        <pc:spChg chg="mod">
          <ac:chgData name="Tan, Vincent (Allianz SE Singapore Branch)" userId="bbbac036-7280-4bac-9c0d-a2e2069e1d29" providerId="ADAL" clId="{9705F007-7B00-4062-93A0-BA587561B57D}" dt="2021-07-14T03:02:30.959" v="3453"/>
          <ac:spMkLst>
            <pc:docMk/>
            <pc:sldMk cId="3169770881" sldId="329"/>
            <ac:spMk id="10" creationId="{FEF33CE1-947A-4D95-B472-92CDCED562CC}"/>
          </ac:spMkLst>
        </pc:spChg>
        <pc:spChg chg="mod">
          <ac:chgData name="Tan, Vincent (Allianz SE Singapore Branch)" userId="bbbac036-7280-4bac-9c0d-a2e2069e1d29" providerId="ADAL" clId="{9705F007-7B00-4062-93A0-BA587561B57D}" dt="2021-07-14T03:02:30.959" v="3453"/>
          <ac:spMkLst>
            <pc:docMk/>
            <pc:sldMk cId="3169770881" sldId="329"/>
            <ac:spMk id="11" creationId="{56C923C0-FFB4-4B94-B22D-BB2EFDCEEF2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7:36:26.648" v="9804" actId="207"/>
          <ac:spMkLst>
            <pc:docMk/>
            <pc:sldMk cId="3169770881" sldId="329"/>
            <ac:spMk id="12" creationId="{3E587102-2EB0-4E08-A71C-20A95B54EDAC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3" creationId="{4990B284-B595-4206-9B3D-58C1444CDBA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4" creationId="{7758DB4F-1782-4460-817D-F704DCFCE31C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6" creationId="{E546CA16-037B-4BF0-9E71-FE845FF0067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7" creationId="{B45380A7-1F32-44B0-9ADE-36CA0544A0AB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2" creationId="{B70E810D-0914-4FFF-A0AE-FD78D589E6E3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4" creationId="{6581096A-8FB8-43AA-9D8B-EAA4699101FB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5" creationId="{446CFDC5-0A10-4142-B631-32848D940AB2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6" creationId="{BE9696DF-FAF4-4BA7-BF27-EE8CBDB14AD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7" creationId="{8E80994F-0D6B-4370-BF5C-EBBB5B7813C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8" creationId="{E055E893-DFD2-4385-AB24-3229C957A243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29" creationId="{5538EFBA-6517-4E6A-86BE-370F507C2F1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0" creationId="{7DA6E460-3D08-4A3F-BEFD-D669A6198C9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1" creationId="{22091522-E062-4097-8CEF-50A41D9B4C7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2" creationId="{BCFE0F8A-F519-42D9-B693-BACD78FE5B1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3" creationId="{E02AB7B9-729B-44D7-B3D6-54EC840E887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4" creationId="{2268160D-4856-45E5-8226-5F3177920EF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5" creationId="{89759179-03BA-4639-8F22-6A6962C9813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6" creationId="{662542EF-AF59-4D8A-BCFC-B4E977BAEAF0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7" creationId="{628CD3DE-3FC3-4580-A197-3E8CE83336F3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8" creationId="{77581427-0BCF-4EA9-A4B4-609929D1F9C2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39" creationId="{727A7503-61F9-4E5A-86CA-20CDAC270C9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43" creationId="{B389CAB5-BE22-4ACC-9813-97B29057C90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44" creationId="{87FF4C78-5D6C-4C05-A37F-EB93FD976DC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45" creationId="{143E584F-CE2C-4598-91B5-ECA9A3ADC3A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46" creationId="{029E7559-C5C3-42F5-A3A6-547B117E5AFB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47" creationId="{E10037AE-5D6D-406E-BB4E-02A2D106EEE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1" creationId="{820ADB00-5C0D-4A37-9C67-321B9440B8BE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2" creationId="{2DE832C1-2B9B-4DAA-B72E-00F9B3EDDD2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3" creationId="{141002B6-9BBE-48BA-B1F4-B1C59200985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4" creationId="{9BCFC325-CD84-45A2-8DFD-D9476EB6AEE2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5" creationId="{FC8CD219-F9C6-4DE7-9ABD-E2D7872547C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6" creationId="{890AE6C8-9661-4A87-9EE1-EB0410599B8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7" creationId="{F88DA00B-9F36-4870-B522-48061033EEB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8" creationId="{1CB8696A-6B07-4EE1-8C94-F106C155911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59" creationId="{E70F2541-ABCB-4F2D-B8DE-DF1D9C67C3A0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62" creationId="{69596D4B-9B94-45DD-85A4-1F1D21B5239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63" creationId="{BB908C4A-DF99-4910-91E0-18333ECED82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64" creationId="{82D6A345-B5B2-47B0-99AB-724ED750B963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65" creationId="{B080BC95-9C25-4B17-B26E-0485F02FE1FE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47.224" v="8355" actId="164"/>
          <ac:spMkLst>
            <pc:docMk/>
            <pc:sldMk cId="3169770881" sldId="329"/>
            <ac:spMk id="70" creationId="{28D8CCEE-38B9-4D2F-8ED2-7EBEA652B4B1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47.224" v="8355" actId="164"/>
          <ac:spMkLst>
            <pc:docMk/>
            <pc:sldMk cId="3169770881" sldId="329"/>
            <ac:spMk id="71" creationId="{DE440EDF-8D45-4F83-8596-73950243D1F7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47.224" v="8355" actId="164"/>
          <ac:spMkLst>
            <pc:docMk/>
            <pc:sldMk cId="3169770881" sldId="329"/>
            <ac:spMk id="72" creationId="{AEB7401E-2974-458C-BB1D-5EAF260D3579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47.224" v="8355" actId="164"/>
          <ac:spMkLst>
            <pc:docMk/>
            <pc:sldMk cId="3169770881" sldId="329"/>
            <ac:spMk id="73" creationId="{59A5AB6B-0CF2-4AFC-8A28-CFFAB6464519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47.224" v="8355" actId="164"/>
          <ac:spMkLst>
            <pc:docMk/>
            <pc:sldMk cId="3169770881" sldId="329"/>
            <ac:spMk id="74" creationId="{1E39A418-CFD7-4BC6-B81C-270030501DA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79" creationId="{A060E8F6-5128-40C4-9442-F287764EF99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1" creationId="{91038321-0A4B-47D4-B047-C8C9149A28CC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2" creationId="{5947B734-BBE5-4003-8919-5B7EED54242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3" creationId="{DEA1B5C5-66A0-4462-A471-C1AFC189402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4" creationId="{7A1F57C5-2AC7-4941-803E-6735A996BC7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5" creationId="{DBA01339-AF7D-4C71-A5A7-EBA212581A7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6" creationId="{F7BD19E5-4B7C-4978-AB9D-BF262411C281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7" creationId="{EA327689-D5EC-48A6-B84B-10671481838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8" creationId="{4616E6BE-54B2-4488-B61C-F2D8C04362E8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89" creationId="{9B0C1FA3-D7EE-4F85-A5AC-71B29F98FEC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90" creationId="{9EDD46E0-EC3B-4232-A698-59EDBE5C39A3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1" creationId="{ABDE3282-0A0E-44EA-A902-AC875389C7B0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2" creationId="{5D95EAEE-4008-4825-AE48-6678FE66C7B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93" creationId="{1217BE29-4217-4BCD-AF58-368A39483D32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6" creationId="{492D382F-0A98-4BBD-B129-2AC34CB0BCA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7" creationId="{83F3DB95-FC8D-484F-8B12-420CC2EC7952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8" creationId="{94C712D3-C59B-4273-B315-B4BFFBE076C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99" creationId="{E5E25A9A-C99C-4241-AD03-F41FE5D81D11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00" creationId="{67E41E36-FA76-4E9C-990A-1A04A517C4A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01" creationId="{9CB0E5C1-33AD-4100-BC1B-1BBA7D4A38C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02" creationId="{08E70117-D2A6-4BCD-855C-4E323D1CD5C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103" creationId="{962098D7-9B85-4B6A-969B-4158629916A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18.846" v="8205" actId="478"/>
          <ac:spMkLst>
            <pc:docMk/>
            <pc:sldMk cId="3169770881" sldId="329"/>
            <ac:spMk id="104" creationId="{2AC578CC-6540-456C-BED4-26A6477B0F2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0.647" v="8192" actId="478"/>
          <ac:spMkLst>
            <pc:docMk/>
            <pc:sldMk cId="3169770881" sldId="329"/>
            <ac:spMk id="105" creationId="{E4867F79-6FBD-41BD-9784-B92A6C03411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7.986" v="8197" actId="478"/>
          <ac:spMkLst>
            <pc:docMk/>
            <pc:sldMk cId="3169770881" sldId="329"/>
            <ac:spMk id="106" creationId="{3D3C46AD-AE83-45BE-A25D-03741BF5F86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9.622" v="8199" actId="478"/>
          <ac:spMkLst>
            <pc:docMk/>
            <pc:sldMk cId="3169770881" sldId="329"/>
            <ac:spMk id="107" creationId="{8CE3838A-4ADB-4896-BAD1-DE8B431664A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8.786" v="8198" actId="478"/>
          <ac:spMkLst>
            <pc:docMk/>
            <pc:sldMk cId="3169770881" sldId="329"/>
            <ac:spMk id="108" creationId="{AC2DFC68-D027-415A-AF24-B9295F877E6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7.196" v="8196" actId="478"/>
          <ac:spMkLst>
            <pc:docMk/>
            <pc:sldMk cId="3169770881" sldId="329"/>
            <ac:spMk id="109" creationId="{54949359-78DA-4089-8354-E2A28B46217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10.180" v="8200" actId="478"/>
          <ac:spMkLst>
            <pc:docMk/>
            <pc:sldMk cId="3169770881" sldId="329"/>
            <ac:spMk id="110" creationId="{BCE9C08E-4C80-4214-AE7C-4650798B94A3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4.061" v="8194" actId="478"/>
          <ac:spMkLst>
            <pc:docMk/>
            <pc:sldMk cId="3169770881" sldId="329"/>
            <ac:spMk id="111" creationId="{36CF371A-C43F-4714-BDFE-49AB541F8FA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12" creationId="{155E67E3-24E7-4087-861A-E3306B086171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13" creationId="{53C6B4E2-430B-4F0F-A744-AA54892EA35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5.795" v="8195" actId="478"/>
          <ac:spMkLst>
            <pc:docMk/>
            <pc:sldMk cId="3169770881" sldId="329"/>
            <ac:spMk id="114" creationId="{9BCFC581-C372-4148-BF92-B71D76478FD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115" creationId="{CAD0F790-086D-432A-9DE1-70208C8A48D6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11.781" v="8201" actId="478"/>
          <ac:spMkLst>
            <pc:docMk/>
            <pc:sldMk cId="3169770881" sldId="329"/>
            <ac:spMk id="116" creationId="{083327D4-ECD4-4A27-9345-3940E7EDA5E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03.283" v="8193" actId="478"/>
          <ac:spMkLst>
            <pc:docMk/>
            <pc:sldMk cId="3169770881" sldId="329"/>
            <ac:spMk id="117" creationId="{BB59180A-E35E-42FC-BB95-AAC75D4A53C5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18" creationId="{5140B49B-C269-45AC-9AB2-3F970601EEDD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09:16.780" v="8204" actId="478"/>
          <ac:spMkLst>
            <pc:docMk/>
            <pc:sldMk cId="3169770881" sldId="329"/>
            <ac:spMk id="119" creationId="{6BDBD8E5-A5E5-4CAA-B052-605BF2B11E9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20" creationId="{636CBBE2-F242-4577-B22C-7B5372075F7B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21" creationId="{8A94011B-D6AC-46C5-93E0-CBB3D019FBFF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122" creationId="{71832A0E-1DDE-4E24-A3A5-2ED6BFA0346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123" creationId="{074E15BA-3E4A-4164-978E-1A9F346A823F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57:55.385" v="7034" actId="207"/>
          <ac:spMkLst>
            <pc:docMk/>
            <pc:sldMk cId="3169770881" sldId="329"/>
            <ac:spMk id="124" creationId="{59E1E502-AAC7-49B5-BD54-1F2808FF7A7E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25" creationId="{09EF685F-B57C-4AD7-A26A-4D1162303908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31.796" v="8354" actId="164"/>
          <ac:spMkLst>
            <pc:docMk/>
            <pc:sldMk cId="3169770881" sldId="329"/>
            <ac:spMk id="126" creationId="{DDB82EBD-5512-449D-BF02-E74FCC5BCEBD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31.796" v="8354" actId="164"/>
          <ac:spMkLst>
            <pc:docMk/>
            <pc:sldMk cId="3169770881" sldId="329"/>
            <ac:spMk id="127" creationId="{3D53C7D7-9116-4193-8DAC-C41FF19DD7A6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16:31.796" v="8354" actId="164"/>
          <ac:spMkLst>
            <pc:docMk/>
            <pc:sldMk cId="3169770881" sldId="329"/>
            <ac:spMk id="128" creationId="{5F12A6A5-3CF5-49D3-AD7D-F4F2CBDE89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7:35:36.375" v="9799" actId="478"/>
          <ac:spMkLst>
            <pc:docMk/>
            <pc:sldMk cId="3169770881" sldId="329"/>
            <ac:spMk id="129" creationId="{2FDB9F90-58C3-439E-B153-80DB0B751AC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30" creationId="{7171FBD0-5275-4ED1-B12D-C1BA820BC2E7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03:03.554" v="3460"/>
          <ac:spMkLst>
            <pc:docMk/>
            <pc:sldMk cId="3169770881" sldId="329"/>
            <ac:spMk id="131" creationId="{B31D172B-8228-4FEC-85FE-DE9A09C42000}"/>
          </ac:spMkLst>
        </pc:spChg>
        <pc:grpChg chg="add del mod">
          <ac:chgData name="Tan, Vincent (Allianz SE Singapore Branch)" userId="bbbac036-7280-4bac-9c0d-a2e2069e1d29" providerId="ADAL" clId="{9705F007-7B00-4062-93A0-BA587561B57D}" dt="2021-07-16T07:35:36.375" v="9799" actId="478"/>
          <ac:grpSpMkLst>
            <pc:docMk/>
            <pc:sldMk cId="3169770881" sldId="329"/>
            <ac:grpSpMk id="3" creationId="{244EC4F2-A75D-4028-BE0F-3101BF60A679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3:16:47.224" v="8355" actId="164"/>
          <ac:grpSpMkLst>
            <pc:docMk/>
            <pc:sldMk cId="3169770881" sldId="329"/>
            <ac:grpSpMk id="5" creationId="{7C50CB9F-CE58-433C-8B59-A571FBA731AD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6T07:36:30.942" v="9806" actId="478"/>
          <ac:grpSpMkLst>
            <pc:docMk/>
            <pc:sldMk cId="3169770881" sldId="329"/>
            <ac:grpSpMk id="8" creationId="{1A39C83D-5279-462F-84CB-9E55905EDAD8}"/>
          </ac:grpSpMkLst>
        </pc:grpChg>
        <pc:graphicFrameChg chg="add mod modGraphic">
          <ac:chgData name="Tan, Vincent (Allianz SE Singapore Branch)" userId="bbbac036-7280-4bac-9c0d-a2e2069e1d29" providerId="ADAL" clId="{9705F007-7B00-4062-93A0-BA587561B57D}" dt="2021-07-15T13:15:01.793" v="8275" actId="207"/>
          <ac:graphicFrameMkLst>
            <pc:docMk/>
            <pc:sldMk cId="3169770881" sldId="329"/>
            <ac:graphicFrameMk id="15" creationId="{3DEF8765-0566-48B4-AF86-008BD6A6ACA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4:01.098" v="8269" actId="1036"/>
          <ac:graphicFrameMkLst>
            <pc:docMk/>
            <pc:sldMk cId="3169770881" sldId="329"/>
            <ac:graphicFrameMk id="18" creationId="{4575E646-22F7-4B01-9566-FB13F2A05BCE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48.378" v="8244" actId="207"/>
          <ac:graphicFrameMkLst>
            <pc:docMk/>
            <pc:sldMk cId="3169770881" sldId="329"/>
            <ac:graphicFrameMk id="19" creationId="{A445B0D8-5676-4CBB-B3E4-7DB4969238FA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44.813" v="8243" actId="207"/>
          <ac:graphicFrameMkLst>
            <pc:docMk/>
            <pc:sldMk cId="3169770881" sldId="329"/>
            <ac:graphicFrameMk id="20" creationId="{801FE53F-DAAB-4B37-A10E-306E252DD85D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40.972" v="8242" actId="207"/>
          <ac:graphicFrameMkLst>
            <pc:docMk/>
            <pc:sldMk cId="3169770881" sldId="329"/>
            <ac:graphicFrameMk id="21" creationId="{D2AC4DA1-7083-481D-B92E-6C6902D7C4F3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5T13:09:14.467" v="8203" actId="478"/>
          <ac:graphicFrameMkLst>
            <pc:docMk/>
            <pc:sldMk cId="3169770881" sldId="329"/>
            <ac:graphicFrameMk id="23" creationId="{71F0D47A-035B-46F1-A1E9-108CBD2CB930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7:59:44.903" v="7046" actId="108"/>
          <ac:graphicFrameMkLst>
            <pc:docMk/>
            <pc:sldMk cId="3169770881" sldId="329"/>
            <ac:graphicFrameMk id="40" creationId="{45260C7D-93B7-4AD5-B89F-339900E0B7D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34.665" v="8240" actId="207"/>
          <ac:graphicFrameMkLst>
            <pc:docMk/>
            <pc:sldMk cId="3169770881" sldId="329"/>
            <ac:graphicFrameMk id="41" creationId="{989D944E-05A5-40DB-9081-21C2622906A0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28.127" v="8238" actId="207"/>
          <ac:graphicFrameMkLst>
            <pc:docMk/>
            <pc:sldMk cId="3169770881" sldId="329"/>
            <ac:graphicFrameMk id="42" creationId="{BE5A22FB-5B3D-4C91-8B12-CCBF885590BE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30.714" v="8239" actId="207"/>
          <ac:graphicFrameMkLst>
            <pc:docMk/>
            <pc:sldMk cId="3169770881" sldId="329"/>
            <ac:graphicFrameMk id="48" creationId="{FA322777-D2E3-4FA2-975D-A13ACE58024F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4:23.049" v="8273" actId="207"/>
          <ac:graphicFrameMkLst>
            <pc:docMk/>
            <pc:sldMk cId="3169770881" sldId="329"/>
            <ac:graphicFrameMk id="49" creationId="{9B706B48-B1D8-4774-AACB-28824A15A77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3:24.311" v="8237" actId="207"/>
          <ac:graphicFrameMkLst>
            <pc:docMk/>
            <pc:sldMk cId="3169770881" sldId="329"/>
            <ac:graphicFrameMk id="50" creationId="{B97DF771-DB33-4469-AAA4-1975BB327DA9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7:59:49.948" v="7050" actId="108"/>
          <ac:graphicFrameMkLst>
            <pc:docMk/>
            <pc:sldMk cId="3169770881" sldId="329"/>
            <ac:graphicFrameMk id="60" creationId="{5C1BF26A-4C35-45C7-B806-4E939A6FFFAC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0:10.784" v="8207" actId="207"/>
          <ac:graphicFrameMkLst>
            <pc:docMk/>
            <pc:sldMk cId="3169770881" sldId="329"/>
            <ac:graphicFrameMk id="61" creationId="{7DE7E4F8-0DD2-427D-ABCD-6278E8BE415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0:17.850" v="8210" actId="207"/>
          <ac:graphicFrameMkLst>
            <pc:docMk/>
            <pc:sldMk cId="3169770881" sldId="329"/>
            <ac:graphicFrameMk id="66" creationId="{39916183-B819-4CFF-9217-33DFBF6673F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0:12.806" v="8208" actId="207"/>
          <ac:graphicFrameMkLst>
            <pc:docMk/>
            <pc:sldMk cId="3169770881" sldId="329"/>
            <ac:graphicFrameMk id="67" creationId="{AECA941B-960E-4D95-882B-6F73F3C1E96E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4:18.919" v="8272" actId="207"/>
          <ac:graphicFrameMkLst>
            <pc:docMk/>
            <pc:sldMk cId="3169770881" sldId="329"/>
            <ac:graphicFrameMk id="68" creationId="{AAF3A232-B289-4DCD-A36B-2882F722F782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6:21.589" v="8353" actId="1036"/>
          <ac:graphicFrameMkLst>
            <pc:docMk/>
            <pc:sldMk cId="3169770881" sldId="329"/>
            <ac:graphicFrameMk id="69" creationId="{BF87DE85-1A3F-4490-BDEC-3240D8BC68BE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6:21.589" v="8353" actId="1036"/>
          <ac:graphicFrameMkLst>
            <pc:docMk/>
            <pc:sldMk cId="3169770881" sldId="329"/>
            <ac:graphicFrameMk id="75" creationId="{974BDE80-4DF4-423A-8EC9-37860948F031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4:38.106" v="8274" actId="207"/>
          <ac:graphicFrameMkLst>
            <pc:docMk/>
            <pc:sldMk cId="3169770881" sldId="329"/>
            <ac:graphicFrameMk id="77" creationId="{769E7C89-2E54-4367-9A41-C5C55D7155EF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3:10:06.584" v="8206" actId="207"/>
          <ac:graphicFrameMkLst>
            <pc:docMk/>
            <pc:sldMk cId="3169770881" sldId="329"/>
            <ac:graphicFrameMk id="94" creationId="{562CBDF6-F08F-49FB-A183-FE27C899A841}"/>
          </ac:graphicFrameMkLst>
        </pc:graphicFrameChg>
        <pc:picChg chg="add mod">
          <ac:chgData name="Tan, Vincent (Allianz SE Singapore Branch)" userId="bbbac036-7280-4bac-9c0d-a2e2069e1d29" providerId="ADAL" clId="{9705F007-7B00-4062-93A0-BA587561B57D}" dt="2021-07-15T13:16:47.224" v="8355" actId="164"/>
          <ac:picMkLst>
            <pc:docMk/>
            <pc:sldMk cId="3169770881" sldId="329"/>
            <ac:picMk id="76" creationId="{C5BBE012-482E-46C1-8D05-DFEB171AF89E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4T03:03:03.554" v="3460"/>
          <ac:picMkLst>
            <pc:docMk/>
            <pc:sldMk cId="3169770881" sldId="329"/>
            <ac:picMk id="78" creationId="{A1F900FB-06D9-45E9-869D-452C03D8FE56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4T07:57:55.385" v="7034" actId="207"/>
          <ac:picMkLst>
            <pc:docMk/>
            <pc:sldMk cId="3169770881" sldId="329"/>
            <ac:picMk id="80" creationId="{4AE3F612-924B-4E35-8002-489B782A2908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4T07:57:55.385" v="7034" actId="207"/>
          <ac:picMkLst>
            <pc:docMk/>
            <pc:sldMk cId="3169770881" sldId="329"/>
            <ac:picMk id="95" creationId="{BB00FD3C-4320-4BC2-811D-3D6357FD2024}"/>
          </ac:picMkLst>
        </pc:picChg>
      </pc:sldChg>
      <pc:sldChg chg="new del">
        <pc:chgData name="Tan, Vincent (Allianz SE Singapore Branch)" userId="bbbac036-7280-4bac-9c0d-a2e2069e1d29" providerId="ADAL" clId="{9705F007-7B00-4062-93A0-BA587561B57D}" dt="2021-07-14T03:05:15.435" v="3497" actId="47"/>
        <pc:sldMkLst>
          <pc:docMk/>
          <pc:sldMk cId="559754057" sldId="330"/>
        </pc:sldMkLst>
      </pc:sldChg>
      <pc:sldChg chg="addSp delSp modSp new mod">
        <pc:chgData name="Tan, Vincent (Allianz SE Singapore Branch)" userId="bbbac036-7280-4bac-9c0d-a2e2069e1d29" providerId="ADAL" clId="{9705F007-7B00-4062-93A0-BA587561B57D}" dt="2021-07-16T09:37:14.151" v="10254" actId="14100"/>
        <pc:sldMkLst>
          <pc:docMk/>
          <pc:sldMk cId="2272062067" sldId="330"/>
        </pc:sldMkLst>
        <pc:spChg chg="mod">
          <ac:chgData name="Tan, Vincent (Allianz SE Singapore Branch)" userId="bbbac036-7280-4bac-9c0d-a2e2069e1d29" providerId="ADAL" clId="{9705F007-7B00-4062-93A0-BA587561B57D}" dt="2021-07-14T03:06:50.245" v="3545"/>
          <ac:spMkLst>
            <pc:docMk/>
            <pc:sldMk cId="2272062067" sldId="330"/>
            <ac:spMk id="2" creationId="{23A25F95-B44E-4D6E-A224-D2EB89991B5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6:36:24.708" v="7386" actId="478"/>
          <ac:spMkLst>
            <pc:docMk/>
            <pc:sldMk cId="2272062067" sldId="330"/>
            <ac:spMk id="3" creationId="{49862FA3-41BA-413B-8C8F-E6DA8A8FE51A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3:08:56.179" v="3717" actId="478"/>
          <ac:spMkLst>
            <pc:docMk/>
            <pc:sldMk cId="2272062067" sldId="330"/>
            <ac:spMk id="3" creationId="{5C180335-F8BF-4FCE-A294-90D9C55FD58C}"/>
          </ac:spMkLst>
        </pc:spChg>
        <pc:spChg chg="mod">
          <ac:chgData name="Tan, Vincent (Allianz SE Singapore Branch)" userId="bbbac036-7280-4bac-9c0d-a2e2069e1d29" providerId="ADAL" clId="{9705F007-7B00-4062-93A0-BA587561B57D}" dt="2021-07-14T03:06:50.245" v="3545"/>
          <ac:spMkLst>
            <pc:docMk/>
            <pc:sldMk cId="2272062067" sldId="330"/>
            <ac:spMk id="4" creationId="{30B05B48-F9D7-4F9B-8BA2-9FA244CE17BB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11:57.062" v="3860" actId="207"/>
          <ac:spMkLst>
            <pc:docMk/>
            <pc:sldMk cId="2272062067" sldId="330"/>
            <ac:spMk id="5" creationId="{35545FD7-AC17-41B0-9E2E-14C0538F81F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37:01.517" v="10253"/>
          <ac:spMkLst>
            <pc:docMk/>
            <pc:sldMk cId="2272062067" sldId="330"/>
            <ac:spMk id="6" creationId="{1D749680-F741-40B8-A369-E511EE30B62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7:41.343" v="3596" actId="478"/>
          <ac:spMkLst>
            <pc:docMk/>
            <pc:sldMk cId="2272062067" sldId="330"/>
            <ac:spMk id="6" creationId="{BDD85EC4-DB81-496C-AA92-8FE3F7D2966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7:13:56.642" v="9702" actId="478"/>
          <ac:spMkLst>
            <pc:docMk/>
            <pc:sldMk cId="2272062067" sldId="330"/>
            <ac:spMk id="7" creationId="{5192F560-4EB4-4E7A-8388-31CE5CC9C669}"/>
          </ac:spMkLst>
        </pc:spChg>
        <pc:spChg chg="add mod">
          <ac:chgData name="Tan, Vincent (Allianz SE Singapore Branch)" userId="bbbac036-7280-4bac-9c0d-a2e2069e1d29" providerId="ADAL" clId="{9705F007-7B00-4062-93A0-BA587561B57D}" dt="2021-07-15T06:41:05.785" v="7434" actId="207"/>
          <ac:spMkLst>
            <pc:docMk/>
            <pc:sldMk cId="2272062067" sldId="330"/>
            <ac:spMk id="8" creationId="{2FD03F6B-087E-49F3-B048-75F2D102D70A}"/>
          </ac:spMkLst>
        </pc:spChg>
        <pc:spChg chg="add mod">
          <ac:chgData name="Tan, Vincent (Allianz SE Singapore Branch)" userId="bbbac036-7280-4bac-9c0d-a2e2069e1d29" providerId="ADAL" clId="{9705F007-7B00-4062-93A0-BA587561B57D}" dt="2021-07-15T02:57:38.147" v="7202" actId="1037"/>
          <ac:spMkLst>
            <pc:docMk/>
            <pc:sldMk cId="2272062067" sldId="330"/>
            <ac:spMk id="16" creationId="{9290C2E9-7FF2-4875-9AF9-DAE8911317C6}"/>
          </ac:spMkLst>
        </pc:spChg>
        <pc:spChg chg="add mod">
          <ac:chgData name="Tan, Vincent (Allianz SE Singapore Branch)" userId="bbbac036-7280-4bac-9c0d-a2e2069e1d29" providerId="ADAL" clId="{9705F007-7B00-4062-93A0-BA587561B57D}" dt="2021-07-15T03:01:17.664" v="7318" actId="207"/>
          <ac:spMkLst>
            <pc:docMk/>
            <pc:sldMk cId="2272062067" sldId="330"/>
            <ac:spMk id="18" creationId="{118D0A2B-748F-4F18-8F20-F55D8C7CDF87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09:45.481" v="3797"/>
          <ac:spMkLst>
            <pc:docMk/>
            <pc:sldMk cId="2272062067" sldId="330"/>
            <ac:spMk id="18" creationId="{72C3C303-FA8B-4E12-A990-FA9261F500E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3:17:35.547" v="4015" actId="1035"/>
          <ac:spMkLst>
            <pc:docMk/>
            <pc:sldMk cId="2272062067" sldId="330"/>
            <ac:spMk id="19" creationId="{83C7EEFF-95C0-49C8-8A28-886BE31D1231}"/>
          </ac:spMkLst>
        </pc:spChg>
        <pc:spChg chg="mod">
          <ac:chgData name="Tan, Vincent (Allianz SE Singapore Branch)" userId="bbbac036-7280-4bac-9c0d-a2e2069e1d29" providerId="ADAL" clId="{9705F007-7B00-4062-93A0-BA587561B57D}" dt="2021-07-15T06:35:02.767" v="7384"/>
          <ac:spMkLst>
            <pc:docMk/>
            <pc:sldMk cId="2272062067" sldId="330"/>
            <ac:spMk id="21" creationId="{C0E26927-227E-42A2-8EB5-1591FF18438F}"/>
          </ac:spMkLst>
        </pc:spChg>
        <pc:spChg chg="mod">
          <ac:chgData name="Tan, Vincent (Allianz SE Singapore Branch)" userId="bbbac036-7280-4bac-9c0d-a2e2069e1d29" providerId="ADAL" clId="{9705F007-7B00-4062-93A0-BA587561B57D}" dt="2021-07-15T06:35:02.767" v="7384"/>
          <ac:spMkLst>
            <pc:docMk/>
            <pc:sldMk cId="2272062067" sldId="330"/>
            <ac:spMk id="22" creationId="{AE7DE44A-728E-42EC-B4FC-96E1549D775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6:40:13.203" v="7418"/>
          <ac:spMkLst>
            <pc:docMk/>
            <pc:sldMk cId="2272062067" sldId="330"/>
            <ac:spMk id="23" creationId="{D35872D0-8531-4CEE-A52A-1FDB486B8A34}"/>
          </ac:spMkLst>
        </pc:spChg>
        <pc:grpChg chg="add mod">
          <ac:chgData name="Tan, Vincent (Allianz SE Singapore Branch)" userId="bbbac036-7280-4bac-9c0d-a2e2069e1d29" providerId="ADAL" clId="{9705F007-7B00-4062-93A0-BA587561B57D}" dt="2021-07-16T09:36:40.570" v="10252" actId="1038"/>
          <ac:grpSpMkLst>
            <pc:docMk/>
            <pc:sldMk cId="2272062067" sldId="330"/>
            <ac:grpSpMk id="20" creationId="{DD946BB1-78B1-4493-8086-3F8B2EB7DB6D}"/>
          </ac:grpSpMkLst>
        </pc:grpChg>
        <pc:graphicFrameChg chg="add mod modGraphic">
          <ac:chgData name="Tan, Vincent (Allianz SE Singapore Branch)" userId="bbbac036-7280-4bac-9c0d-a2e2069e1d29" providerId="ADAL" clId="{9705F007-7B00-4062-93A0-BA587561B57D}" dt="2021-07-14T03:19:16.159" v="4021" actId="255"/>
          <ac:graphicFrameMkLst>
            <pc:docMk/>
            <pc:sldMk cId="2272062067" sldId="330"/>
            <ac:graphicFrameMk id="9" creationId="{74A04039-9DD9-4DE3-94BA-89D2F421CA4F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2:17.720" v="7336" actId="14100"/>
          <ac:graphicFrameMkLst>
            <pc:docMk/>
            <pc:sldMk cId="2272062067" sldId="330"/>
            <ac:graphicFrameMk id="10" creationId="{416BEF2C-5EF0-4C98-9824-2F292909FD1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2:17.720" v="7336" actId="14100"/>
          <ac:graphicFrameMkLst>
            <pc:docMk/>
            <pc:sldMk cId="2272062067" sldId="330"/>
            <ac:graphicFrameMk id="11" creationId="{8EA5EEB2-9F9C-4589-9E73-396DE3E63CC9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1:52.242" v="7322" actId="14100"/>
          <ac:graphicFrameMkLst>
            <pc:docMk/>
            <pc:sldMk cId="2272062067" sldId="330"/>
            <ac:graphicFrameMk id="12" creationId="{9471E12B-7277-42E9-A93F-A1F6BDAFD529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9:37:14.151" v="10254" actId="14100"/>
          <ac:graphicFrameMkLst>
            <pc:docMk/>
            <pc:sldMk cId="2272062067" sldId="330"/>
            <ac:graphicFrameMk id="13" creationId="{A5BDC72D-0078-480A-9ACA-159521C99A9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4:14.812" v="7340" actId="14734"/>
          <ac:graphicFrameMkLst>
            <pc:docMk/>
            <pc:sldMk cId="2272062067" sldId="330"/>
            <ac:graphicFrameMk id="14" creationId="{B7321284-E313-4793-8A96-752B3545EE1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1:59.526" v="7324" actId="1036"/>
          <ac:graphicFrameMkLst>
            <pc:docMk/>
            <pc:sldMk cId="2272062067" sldId="330"/>
            <ac:graphicFrameMk id="15" creationId="{BFCC9BA5-3A40-4FD4-B0EE-51DA17A8FB08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03:00:40.219" v="7257" actId="1038"/>
          <ac:graphicFrameMkLst>
            <pc:docMk/>
            <pc:sldMk cId="2272062067" sldId="330"/>
            <ac:graphicFrameMk id="17" creationId="{87CB1129-7C6F-4DE6-9794-A18DB13E5E1A}"/>
          </ac:graphicFrameMkLst>
        </pc:graphicFrameChg>
      </pc:sldChg>
      <pc:sldChg chg="addSp delSp modSp add del mod">
        <pc:chgData name="Tan, Vincent (Allianz SE Singapore Branch)" userId="bbbac036-7280-4bac-9c0d-a2e2069e1d29" providerId="ADAL" clId="{9705F007-7B00-4062-93A0-BA587561B57D}" dt="2021-07-15T13:36:15.101" v="8703" actId="47"/>
        <pc:sldMkLst>
          <pc:docMk/>
          <pc:sldMk cId="896313481" sldId="331"/>
        </pc:sldMkLst>
        <pc:spChg chg="add del mod">
          <ac:chgData name="Tan, Vincent (Allianz SE Singapore Branch)" userId="bbbac036-7280-4bac-9c0d-a2e2069e1d29" providerId="ADAL" clId="{9705F007-7B00-4062-93A0-BA587561B57D}" dt="2021-07-15T13:34:12.006" v="8688" actId="478"/>
          <ac:spMkLst>
            <pc:docMk/>
            <pc:sldMk cId="896313481" sldId="331"/>
            <ac:spMk id="3" creationId="{8B74EE1A-9EDF-46CC-84DB-E37B7A078C3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49:53.767" v="4769" actId="478"/>
          <ac:spMkLst>
            <pc:docMk/>
            <pc:sldMk cId="896313481" sldId="331"/>
            <ac:spMk id="3" creationId="{9DF0D6B0-8C1C-4257-8E7F-C4CF95DA2371}"/>
          </ac:spMkLst>
        </pc:spChg>
        <pc:spChg chg="mod">
          <ac:chgData name="Tan, Vincent (Allianz SE Singapore Branch)" userId="bbbac036-7280-4bac-9c0d-a2e2069e1d29" providerId="ADAL" clId="{9705F007-7B00-4062-93A0-BA587561B57D}" dt="2021-07-15T13:20:16.859" v="8464" actId="1035"/>
          <ac:spMkLst>
            <pc:docMk/>
            <pc:sldMk cId="896313481" sldId="331"/>
            <ac:spMk id="5" creationId="{5990B510-2C92-4B48-BB51-5C5D8CD1730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34:46.018" v="8691" actId="2085"/>
          <ac:spMkLst>
            <pc:docMk/>
            <pc:sldMk cId="896313481" sldId="331"/>
            <ac:spMk id="7" creationId="{54329029-7098-48B4-A8F5-5105E4656F3F}"/>
          </ac:spMkLst>
        </pc:spChg>
        <pc:spChg chg="del mod">
          <ac:chgData name="Tan, Vincent (Allianz SE Singapore Branch)" userId="bbbac036-7280-4bac-9c0d-a2e2069e1d29" providerId="ADAL" clId="{9705F007-7B00-4062-93A0-BA587561B57D}" dt="2021-07-15T07:16:11.902" v="7522" actId="478"/>
          <ac:spMkLst>
            <pc:docMk/>
            <pc:sldMk cId="896313481" sldId="331"/>
            <ac:spMk id="9" creationId="{04035A73-03EB-4AAD-B67F-08A711353D1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34:08.237" v="8687" actId="478"/>
          <ac:spMkLst>
            <pc:docMk/>
            <pc:sldMk cId="896313481" sldId="331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5T13:30:20.276" v="8651" actId="478"/>
          <ac:spMkLst>
            <pc:docMk/>
            <pc:sldMk cId="896313481" sldId="331"/>
            <ac:spMk id="19" creationId="{9EE7E55D-2F5E-4B4B-A3A2-C4E64642A974}"/>
          </ac:spMkLst>
        </pc:spChg>
        <pc:spChg chg="del mod">
          <ac:chgData name="Tan, Vincent (Allianz SE Singapore Branch)" userId="bbbac036-7280-4bac-9c0d-a2e2069e1d29" providerId="ADAL" clId="{9705F007-7B00-4062-93A0-BA587561B57D}" dt="2021-07-15T12:02:30.391" v="7664" actId="478"/>
          <ac:spMkLst>
            <pc:docMk/>
            <pc:sldMk cId="896313481" sldId="331"/>
            <ac:spMk id="36" creationId="{EFD68281-062F-42E5-AAD5-F6CADCDBF01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3:53:02.821" v="4822"/>
          <ac:spMkLst>
            <pc:docMk/>
            <pc:sldMk cId="896313481" sldId="331"/>
            <ac:spMk id="37" creationId="{243F39CD-DC83-405E-9C85-CB7A821AD3FD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18.737" v="7523"/>
          <ac:spMkLst>
            <pc:docMk/>
            <pc:sldMk cId="896313481" sldId="331"/>
            <ac:spMk id="37" creationId="{B54BBCF0-886C-4950-BD39-3D43C57C7F1D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18.737" v="7523"/>
          <ac:spMkLst>
            <pc:docMk/>
            <pc:sldMk cId="896313481" sldId="331"/>
            <ac:spMk id="38" creationId="{8EF77CB2-A178-40B4-9F8D-4E85988EFA0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30:20.276" v="8651" actId="478"/>
          <ac:spMkLst>
            <pc:docMk/>
            <pc:sldMk cId="896313481" sldId="331"/>
            <ac:spMk id="39" creationId="{8806D4E9-6BFC-45B8-BE83-F220D2FFB679}"/>
          </ac:spMkLst>
        </pc:spChg>
        <pc:grpChg chg="del">
          <ac:chgData name="Tan, Vincent (Allianz SE Singapore Branch)" userId="bbbac036-7280-4bac-9c0d-a2e2069e1d29" providerId="ADAL" clId="{9705F007-7B00-4062-93A0-BA587561B57D}" dt="2021-07-15T13:30:20.276" v="8651" actId="478"/>
          <ac:grpSpMkLst>
            <pc:docMk/>
            <pc:sldMk cId="896313481" sldId="331"/>
            <ac:grpSpMk id="14" creationId="{9F877177-3F70-427C-8586-BE46BD21CE25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3:49:57.105" v="4770" actId="478"/>
          <ac:grpSpMkLst>
            <pc:docMk/>
            <pc:sldMk cId="896313481" sldId="331"/>
            <ac:grpSpMk id="21" creationId="{3C52AD34-77F6-4695-B8C1-0D9F34F122DB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33:45.573" v="8686" actId="1076"/>
          <ac:grpSpMkLst>
            <pc:docMk/>
            <pc:sldMk cId="896313481" sldId="331"/>
            <ac:grpSpMk id="29" creationId="{B9C15DB8-AD34-4532-90EB-F5A83BF52542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30:20.276" v="8651" actId="478"/>
          <ac:grpSpMkLst>
            <pc:docMk/>
            <pc:sldMk cId="896313481" sldId="331"/>
            <ac:grpSpMk id="32" creationId="{AD9AA74D-B9C6-45A8-9334-001DDE53739D}"/>
          </ac:grpSpMkLst>
        </pc:grpChg>
        <pc:grpChg chg="del mod">
          <ac:chgData name="Tan, Vincent (Allianz SE Singapore Branch)" userId="bbbac036-7280-4bac-9c0d-a2e2069e1d29" providerId="ADAL" clId="{9705F007-7B00-4062-93A0-BA587561B57D}" dt="2021-07-15T07:16:11.902" v="7522" actId="478"/>
          <ac:grpSpMkLst>
            <pc:docMk/>
            <pc:sldMk cId="896313481" sldId="331"/>
            <ac:grpSpMk id="33" creationId="{7562B530-5401-4134-8A72-A9DEBC55E800}"/>
          </ac:grpSpMkLst>
        </pc:grpChg>
        <pc:graphicFrameChg chg="del mod modGraphic">
          <ac:chgData name="Tan, Vincent (Allianz SE Singapore Branch)" userId="bbbac036-7280-4bac-9c0d-a2e2069e1d29" providerId="ADAL" clId="{9705F007-7B00-4062-93A0-BA587561B57D}" dt="2021-07-15T13:33:28.118" v="8682" actId="478"/>
          <ac:graphicFrameMkLst>
            <pc:docMk/>
            <pc:sldMk cId="896313481" sldId="331"/>
            <ac:graphicFrameMk id="20" creationId="{49D53C52-A63D-4072-8862-98D5841FBB35}"/>
          </ac:graphicFrameMkLst>
        </pc:graphicFrameChg>
        <pc:picChg chg="mod">
          <ac:chgData name="Tan, Vincent (Allianz SE Singapore Branch)" userId="bbbac036-7280-4bac-9c0d-a2e2069e1d29" providerId="ADAL" clId="{9705F007-7B00-4062-93A0-BA587561B57D}" dt="2021-07-14T03:49:58.842" v="4771"/>
          <ac:picMkLst>
            <pc:docMk/>
            <pc:sldMk cId="896313481" sldId="331"/>
            <ac:picMk id="30" creationId="{76D3EA86-608F-4B40-B6CD-4DECDCC71392}"/>
          </ac:picMkLst>
        </pc:picChg>
        <pc:picChg chg="mod">
          <ac:chgData name="Tan, Vincent (Allianz SE Singapore Branch)" userId="bbbac036-7280-4bac-9c0d-a2e2069e1d29" providerId="ADAL" clId="{9705F007-7B00-4062-93A0-BA587561B57D}" dt="2021-07-14T03:49:58.842" v="4771"/>
          <ac:picMkLst>
            <pc:docMk/>
            <pc:sldMk cId="896313481" sldId="331"/>
            <ac:picMk id="31" creationId="{2E93CC82-11BD-4AA2-A834-AFDA1884AD1F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53:02.821" v="4822"/>
          <ac:picMkLst>
            <pc:docMk/>
            <pc:sldMk cId="896313481" sldId="331"/>
            <ac:picMk id="32" creationId="{8B185F21-4C5A-4E51-96EE-A0AD440EFEFA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5T13:30:14.002" v="8650"/>
          <ac:picMkLst>
            <pc:docMk/>
            <pc:sldMk cId="896313481" sldId="331"/>
            <ac:picMk id="33" creationId="{A40D9E65-EBAB-4480-8AA9-5D9F536DE71A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3:53:02.821" v="4822"/>
          <ac:picMkLst>
            <pc:docMk/>
            <pc:sldMk cId="896313481" sldId="331"/>
            <ac:picMk id="38" creationId="{E821804F-ACAE-4C7C-968F-03C3C398BAD6}"/>
          </ac:picMkLst>
        </pc:picChg>
      </pc:sldChg>
      <pc:sldChg chg="addSp delSp modSp add del mod">
        <pc:chgData name="Tan, Vincent (Allianz SE Singapore Branch)" userId="bbbac036-7280-4bac-9c0d-a2e2069e1d29" providerId="ADAL" clId="{9705F007-7B00-4062-93A0-BA587561B57D}" dt="2021-07-15T13:43:23.834" v="8769" actId="47"/>
        <pc:sldMkLst>
          <pc:docMk/>
          <pc:sldMk cId="401820468" sldId="332"/>
        </pc:sldMkLst>
        <pc:spChg chg="mod">
          <ac:chgData name="Tan, Vincent (Allianz SE Singapore Branch)" userId="bbbac036-7280-4bac-9c0d-a2e2069e1d29" providerId="ADAL" clId="{9705F007-7B00-4062-93A0-BA587561B57D}" dt="2021-07-14T03:52:01.309" v="4815" actId="20577"/>
          <ac:spMkLst>
            <pc:docMk/>
            <pc:sldMk cId="401820468" sldId="332"/>
            <ac:spMk id="5" creationId="{5990B510-2C92-4B48-BB51-5C5D8CD1730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18:42.586" v="7534" actId="478"/>
          <ac:spMkLst>
            <pc:docMk/>
            <pc:sldMk cId="401820468" sldId="332"/>
            <ac:spMk id="9" creationId="{04035A73-03EB-4AAD-B67F-08A711353D1C}"/>
          </ac:spMkLst>
        </pc:spChg>
        <pc:spChg chg="mod">
          <ac:chgData name="Tan, Vincent (Allianz SE Singapore Branch)" userId="bbbac036-7280-4bac-9c0d-a2e2069e1d29" providerId="ADAL" clId="{9705F007-7B00-4062-93A0-BA587561B57D}" dt="2021-07-14T03:51:57.458" v="4811" actId="20577"/>
          <ac:spMkLst>
            <pc:docMk/>
            <pc:sldMk cId="401820468" sldId="332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5T13:30:26.913" v="8652" actId="478"/>
          <ac:spMkLst>
            <pc:docMk/>
            <pc:sldMk cId="401820468" sldId="332"/>
            <ac:spMk id="19" creationId="{9EE7E55D-2F5E-4B4B-A3A2-C4E64642A97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4:43:50.669" v="4996" actId="1036"/>
          <ac:spMkLst>
            <pc:docMk/>
            <pc:sldMk cId="401820468" sldId="332"/>
            <ac:spMk id="30" creationId="{ACEFB11C-B284-4AB9-96A9-123975EAF737}"/>
          </ac:spMkLst>
        </pc:spChg>
        <pc:spChg chg="del">
          <ac:chgData name="Tan, Vincent (Allianz SE Singapore Branch)" userId="bbbac036-7280-4bac-9c0d-a2e2069e1d29" providerId="ADAL" clId="{9705F007-7B00-4062-93A0-BA587561B57D}" dt="2021-07-15T12:02:27.162" v="7662" actId="478"/>
          <ac:spMkLst>
            <pc:docMk/>
            <pc:sldMk cId="401820468" sldId="332"/>
            <ac:spMk id="36" creationId="{EFD68281-062F-42E5-AAD5-F6CADCDBF014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0.387" v="7524"/>
          <ac:spMkLst>
            <pc:docMk/>
            <pc:sldMk cId="401820468" sldId="332"/>
            <ac:spMk id="37" creationId="{06E3A1CC-DFDD-49F7-A1E1-5A6AA3ACAF8F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0.387" v="7524"/>
          <ac:spMkLst>
            <pc:docMk/>
            <pc:sldMk cId="401820468" sldId="332"/>
            <ac:spMk id="38" creationId="{C514E174-04B0-4062-9E91-5286C45A694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30:26.913" v="8652" actId="478"/>
          <ac:spMkLst>
            <pc:docMk/>
            <pc:sldMk cId="401820468" sldId="332"/>
            <ac:spMk id="39" creationId="{33B5817D-635A-47DC-9F7A-6C06FD4279B1}"/>
          </ac:spMkLst>
        </pc:spChg>
        <pc:grpChg chg="del">
          <ac:chgData name="Tan, Vincent (Allianz SE Singapore Branch)" userId="bbbac036-7280-4bac-9c0d-a2e2069e1d29" providerId="ADAL" clId="{9705F007-7B00-4062-93A0-BA587561B57D}" dt="2021-07-15T13:30:26.913" v="8652" actId="478"/>
          <ac:grpSpMkLst>
            <pc:docMk/>
            <pc:sldMk cId="401820468" sldId="332"/>
            <ac:grpSpMk id="14" creationId="{9F877177-3F70-427C-8586-BE46BD21CE25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3:52:08.142" v="4816" actId="478"/>
          <ac:grpSpMkLst>
            <pc:docMk/>
            <pc:sldMk cId="401820468" sldId="332"/>
            <ac:grpSpMk id="21" creationId="{3C52AD34-77F6-4695-B8C1-0D9F34F122DB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30:26.913" v="8652" actId="478"/>
          <ac:grpSpMkLst>
            <pc:docMk/>
            <pc:sldMk cId="401820468" sldId="332"/>
            <ac:grpSpMk id="32" creationId="{189329DA-351E-4ED2-A85C-ED7F4F972EA5}"/>
          </ac:grpSpMkLst>
        </pc:grpChg>
        <pc:grpChg chg="del">
          <ac:chgData name="Tan, Vincent (Allianz SE Singapore Branch)" userId="bbbac036-7280-4bac-9c0d-a2e2069e1d29" providerId="ADAL" clId="{9705F007-7B00-4062-93A0-BA587561B57D}" dt="2021-07-15T07:16:36.097" v="7530" actId="478"/>
          <ac:grpSpMkLst>
            <pc:docMk/>
            <pc:sldMk cId="401820468" sldId="332"/>
            <ac:grpSpMk id="33" creationId="{7562B530-5401-4134-8A72-A9DEBC55E800}"/>
          </ac:grpSpMkLst>
        </pc:grpChg>
        <pc:graphicFrameChg chg="mod modGraphic">
          <ac:chgData name="Tan, Vincent (Allianz SE Singapore Branch)" userId="bbbac036-7280-4bac-9c0d-a2e2069e1d29" providerId="ADAL" clId="{9705F007-7B00-4062-93A0-BA587561B57D}" dt="2021-07-15T07:20:08.038" v="7535" actId="14100"/>
          <ac:graphicFrameMkLst>
            <pc:docMk/>
            <pc:sldMk cId="401820468" sldId="332"/>
            <ac:graphicFrameMk id="20" creationId="{49D53C52-A63D-4072-8862-98D5841FBB35}"/>
          </ac:graphicFrameMkLst>
        </pc:graphicFrameChg>
        <pc:picChg chg="add mod">
          <ac:chgData name="Tan, Vincent (Allianz SE Singapore Branch)" userId="bbbac036-7280-4bac-9c0d-a2e2069e1d29" providerId="ADAL" clId="{9705F007-7B00-4062-93A0-BA587561B57D}" dt="2021-07-14T03:54:03.541" v="4889" actId="14100"/>
          <ac:picMkLst>
            <pc:docMk/>
            <pc:sldMk cId="401820468" sldId="332"/>
            <ac:picMk id="29" creationId="{1BDEB629-32A1-4635-A897-DD0145868E79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4T03:53:58.863" v="4888" actId="1037"/>
          <ac:picMkLst>
            <pc:docMk/>
            <pc:sldMk cId="401820468" sldId="332"/>
            <ac:picMk id="31" creationId="{FB095221-66AE-4AB9-A93B-A2C5854C8502}"/>
          </ac:picMkLst>
        </pc:picChg>
      </pc:sldChg>
      <pc:sldChg chg="addSp delSp modSp add del mod">
        <pc:chgData name="Tan, Vincent (Allianz SE Singapore Branch)" userId="bbbac036-7280-4bac-9c0d-a2e2069e1d29" providerId="ADAL" clId="{9705F007-7B00-4062-93A0-BA587561B57D}" dt="2021-07-14T04:49:57.115" v="5066" actId="47"/>
        <pc:sldMkLst>
          <pc:docMk/>
          <pc:sldMk cId="2173843996" sldId="333"/>
        </pc:sldMkLst>
        <pc:spChg chg="add del mod">
          <ac:chgData name="Tan, Vincent (Allianz SE Singapore Branch)" userId="bbbac036-7280-4bac-9c0d-a2e2069e1d29" providerId="ADAL" clId="{9705F007-7B00-4062-93A0-BA587561B57D}" dt="2021-07-14T04:49:27.977" v="5064" actId="478"/>
          <ac:spMkLst>
            <pc:docMk/>
            <pc:sldMk cId="2173843996" sldId="333"/>
            <ac:spMk id="29" creationId="{AA3A59EE-BD92-42BA-9FB8-2260FEB470B5}"/>
          </ac:spMkLst>
        </pc:spChg>
        <pc:grpChg chg="del">
          <ac:chgData name="Tan, Vincent (Allianz SE Singapore Branch)" userId="bbbac036-7280-4bac-9c0d-a2e2069e1d29" providerId="ADAL" clId="{9705F007-7B00-4062-93A0-BA587561B57D}" dt="2021-07-14T04:47:55.452" v="4998" actId="478"/>
          <ac:grpSpMkLst>
            <pc:docMk/>
            <pc:sldMk cId="2173843996" sldId="333"/>
            <ac:grpSpMk id="21" creationId="{3C52AD34-77F6-4695-B8C1-0D9F34F122DB}"/>
          </ac:grpSpMkLst>
        </pc:grpChg>
      </pc:sldChg>
      <pc:sldChg chg="addSp delSp modSp add del mod ord">
        <pc:chgData name="Tan, Vincent (Allianz SE Singapore Branch)" userId="bbbac036-7280-4bac-9c0d-a2e2069e1d29" providerId="ADAL" clId="{9705F007-7B00-4062-93A0-BA587561B57D}" dt="2021-07-15T13:55:07.735" v="8893" actId="47"/>
        <pc:sldMkLst>
          <pc:docMk/>
          <pc:sldMk cId="262983300" sldId="334"/>
        </pc:sldMkLst>
        <pc:spChg chg="add del mod">
          <ac:chgData name="Tan, Vincent (Allianz SE Singapore Branch)" userId="bbbac036-7280-4bac-9c0d-a2e2069e1d29" providerId="ADAL" clId="{9705F007-7B00-4062-93A0-BA587561B57D}" dt="2021-07-15T13:52:03.597" v="8864" actId="478"/>
          <ac:spMkLst>
            <pc:docMk/>
            <pc:sldMk cId="262983300" sldId="334"/>
            <ac:spMk id="3" creationId="{4D592D7E-BBE2-4C7E-B968-ACB3A33218CD}"/>
          </ac:spMkLst>
        </pc:spChg>
        <pc:spChg chg="del mod">
          <ac:chgData name="Tan, Vincent (Allianz SE Singapore Branch)" userId="bbbac036-7280-4bac-9c0d-a2e2069e1d29" providerId="ADAL" clId="{9705F007-7B00-4062-93A0-BA587561B57D}" dt="2021-07-15T13:53:07.899" v="8869" actId="478"/>
          <ac:spMkLst>
            <pc:docMk/>
            <pc:sldMk cId="262983300" sldId="334"/>
            <ac:spMk id="5" creationId="{5990B510-2C92-4B48-BB51-5C5D8CD1730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53:27.798" v="8872" actId="207"/>
          <ac:spMkLst>
            <pc:docMk/>
            <pc:sldMk cId="262983300" sldId="334"/>
            <ac:spMk id="7" creationId="{0BED91FC-491C-4F99-8878-315CF8F2E3B3}"/>
          </ac:spMkLst>
        </pc:spChg>
        <pc:spChg chg="del">
          <ac:chgData name="Tan, Vincent (Allianz SE Singapore Branch)" userId="bbbac036-7280-4bac-9c0d-a2e2069e1d29" providerId="ADAL" clId="{9705F007-7B00-4062-93A0-BA587561B57D}" dt="2021-07-15T10:17:26.710" v="7553" actId="478"/>
          <ac:spMkLst>
            <pc:docMk/>
            <pc:sldMk cId="262983300" sldId="334"/>
            <ac:spMk id="9" creationId="{04035A73-03EB-4AAD-B67F-08A711353D1C}"/>
          </ac:spMkLst>
        </pc:spChg>
        <pc:spChg chg="del mod">
          <ac:chgData name="Tan, Vincent (Allianz SE Singapore Branch)" userId="bbbac036-7280-4bac-9c0d-a2e2069e1d29" providerId="ADAL" clId="{9705F007-7B00-4062-93A0-BA587561B57D}" dt="2021-07-15T13:52:00.228" v="8863" actId="478"/>
          <ac:spMkLst>
            <pc:docMk/>
            <pc:sldMk cId="262983300" sldId="334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5T13:30:30.870" v="8653" actId="478"/>
          <ac:spMkLst>
            <pc:docMk/>
            <pc:sldMk cId="262983300" sldId="334"/>
            <ac:spMk id="19" creationId="{9EE7E55D-2F5E-4B4B-A3A2-C4E64642A974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4:49:35.761" v="5065" actId="1076"/>
          <ac:spMkLst>
            <pc:docMk/>
            <pc:sldMk cId="262983300" sldId="334"/>
            <ac:spMk id="32" creationId="{065516BB-872A-4E05-8892-36774DBCA961}"/>
          </ac:spMkLst>
        </pc:spChg>
        <pc:spChg chg="del">
          <ac:chgData name="Tan, Vincent (Allianz SE Singapore Branch)" userId="bbbac036-7280-4bac-9c0d-a2e2069e1d29" providerId="ADAL" clId="{9705F007-7B00-4062-93A0-BA587561B57D}" dt="2021-07-15T13:51:45.154" v="8860" actId="21"/>
          <ac:spMkLst>
            <pc:docMk/>
            <pc:sldMk cId="262983300" sldId="334"/>
            <ac:spMk id="36" creationId="{EFD68281-062F-42E5-AAD5-F6CADCDBF014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1.990" v="7525"/>
          <ac:spMkLst>
            <pc:docMk/>
            <pc:sldMk cId="262983300" sldId="334"/>
            <ac:spMk id="38" creationId="{A9323EE8-D5AB-4460-A800-D1961CCFB569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1.990" v="7525"/>
          <ac:spMkLst>
            <pc:docMk/>
            <pc:sldMk cId="262983300" sldId="334"/>
            <ac:spMk id="39" creationId="{8C8E23F1-93F6-426E-8A5D-B3817431AB7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13:30:30.870" v="8653" actId="478"/>
          <ac:spMkLst>
            <pc:docMk/>
            <pc:sldMk cId="262983300" sldId="334"/>
            <ac:spMk id="40" creationId="{824259BD-E776-4975-94BE-881BB8BA2F43}"/>
          </ac:spMkLst>
        </pc:spChg>
        <pc:grpChg chg="del">
          <ac:chgData name="Tan, Vincent (Allianz SE Singapore Branch)" userId="bbbac036-7280-4bac-9c0d-a2e2069e1d29" providerId="ADAL" clId="{9705F007-7B00-4062-93A0-BA587561B57D}" dt="2021-07-15T13:30:30.870" v="8653" actId="478"/>
          <ac:grpSpMkLst>
            <pc:docMk/>
            <pc:sldMk cId="262983300" sldId="334"/>
            <ac:grpSpMk id="14" creationId="{9F877177-3F70-427C-8586-BE46BD21CE25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4:47:58.242" v="4999" actId="478"/>
          <ac:grpSpMkLst>
            <pc:docMk/>
            <pc:sldMk cId="262983300" sldId="334"/>
            <ac:grpSpMk id="21" creationId="{3C52AD34-77F6-4695-B8C1-0D9F34F122DB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3:53:04.194" v="8868" actId="1076"/>
          <ac:grpSpMkLst>
            <pc:docMk/>
            <pc:sldMk cId="262983300" sldId="334"/>
            <ac:grpSpMk id="29" creationId="{C55BABA4-22B0-4BDD-86F5-FB0B1E0226C5}"/>
          </ac:grpSpMkLst>
        </pc:grpChg>
        <pc:grpChg chg="del">
          <ac:chgData name="Tan, Vincent (Allianz SE Singapore Branch)" userId="bbbac036-7280-4bac-9c0d-a2e2069e1d29" providerId="ADAL" clId="{9705F007-7B00-4062-93A0-BA587561B57D}" dt="2021-07-15T10:17:28.095" v="7554" actId="478"/>
          <ac:grpSpMkLst>
            <pc:docMk/>
            <pc:sldMk cId="262983300" sldId="334"/>
            <ac:grpSpMk id="33" creationId="{7562B530-5401-4134-8A72-A9DEBC55E800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30:30.870" v="8653" actId="478"/>
          <ac:grpSpMkLst>
            <pc:docMk/>
            <pc:sldMk cId="262983300" sldId="334"/>
            <ac:grpSpMk id="37" creationId="{6671BD31-8637-48CC-A8AD-A970635FEE26}"/>
          </ac:grpSpMkLst>
        </pc:grpChg>
        <pc:graphicFrameChg chg="add del mod modGraphic">
          <ac:chgData name="Tan, Vincent (Allianz SE Singapore Branch)" userId="bbbac036-7280-4bac-9c0d-a2e2069e1d29" providerId="ADAL" clId="{9705F007-7B00-4062-93A0-BA587561B57D}" dt="2021-07-15T13:52:10.259" v="8865" actId="478"/>
          <ac:graphicFrameMkLst>
            <pc:docMk/>
            <pc:sldMk cId="262983300" sldId="334"/>
            <ac:graphicFrameMk id="20" creationId="{49D53C52-A63D-4072-8862-98D5841FBB35}"/>
          </ac:graphicFrameMkLst>
        </pc:graphicFrameChg>
        <pc:picChg chg="mod">
          <ac:chgData name="Tan, Vincent (Allianz SE Singapore Branch)" userId="bbbac036-7280-4bac-9c0d-a2e2069e1d29" providerId="ADAL" clId="{9705F007-7B00-4062-93A0-BA587561B57D}" dt="2021-07-14T04:48:10.163" v="5000"/>
          <ac:picMkLst>
            <pc:docMk/>
            <pc:sldMk cId="262983300" sldId="334"/>
            <ac:picMk id="30" creationId="{29FB3FE6-6B45-4D00-8CC4-621B5E406CB1}"/>
          </ac:picMkLst>
        </pc:picChg>
        <pc:picChg chg="mod">
          <ac:chgData name="Tan, Vincent (Allianz SE Singapore Branch)" userId="bbbac036-7280-4bac-9c0d-a2e2069e1d29" providerId="ADAL" clId="{9705F007-7B00-4062-93A0-BA587561B57D}" dt="2021-07-14T04:48:10.163" v="5000"/>
          <ac:picMkLst>
            <pc:docMk/>
            <pc:sldMk cId="262983300" sldId="334"/>
            <ac:picMk id="31" creationId="{58022554-5729-4498-B54C-B8BC2D115A64}"/>
          </ac:picMkLst>
        </pc:picChg>
      </pc:sldChg>
      <pc:sldChg chg="addSp delSp modSp add del mod modNotesTx">
        <pc:chgData name="Tan, Vincent (Allianz SE Singapore Branch)" userId="bbbac036-7280-4bac-9c0d-a2e2069e1d29" providerId="ADAL" clId="{9705F007-7B00-4062-93A0-BA587561B57D}" dt="2021-07-15T14:21:25.424" v="9166" actId="47"/>
        <pc:sldMkLst>
          <pc:docMk/>
          <pc:sldMk cId="3265245596" sldId="335"/>
        </pc:sldMkLst>
        <pc:spChg chg="add del mod">
          <ac:chgData name="Tan, Vincent (Allianz SE Singapore Branch)" userId="bbbac036-7280-4bac-9c0d-a2e2069e1d29" providerId="ADAL" clId="{9705F007-7B00-4062-93A0-BA587561B57D}" dt="2021-07-14T08:10:12.767" v="7078"/>
          <ac:spMkLst>
            <pc:docMk/>
            <pc:sldMk cId="3265245596" sldId="335"/>
            <ac:spMk id="2" creationId="{C6324235-3991-4071-B859-54AA9685CBFE}"/>
          </ac:spMkLst>
        </pc:spChg>
        <pc:spChg chg="mod">
          <ac:chgData name="Tan, Vincent (Allianz SE Singapore Branch)" userId="bbbac036-7280-4bac-9c0d-a2e2069e1d29" providerId="ADAL" clId="{9705F007-7B00-4062-93A0-BA587561B57D}" dt="2021-07-14T04:55:45.936" v="5107" actId="20577"/>
          <ac:spMkLst>
            <pc:docMk/>
            <pc:sldMk cId="3265245596" sldId="335"/>
            <ac:spMk id="5" creationId="{5990B510-2C92-4B48-BB51-5C5D8CD1730F}"/>
          </ac:spMkLst>
        </pc:spChg>
        <pc:spChg chg="del">
          <ac:chgData name="Tan, Vincent (Allianz SE Singapore Branch)" userId="bbbac036-7280-4bac-9c0d-a2e2069e1d29" providerId="ADAL" clId="{9705F007-7B00-4062-93A0-BA587561B57D}" dt="2021-07-15T07:16:29.565" v="7527" actId="478"/>
          <ac:spMkLst>
            <pc:docMk/>
            <pc:sldMk cId="3265245596" sldId="335"/>
            <ac:spMk id="9" creationId="{04035A73-03EB-4AAD-B67F-08A711353D1C}"/>
          </ac:spMkLst>
        </pc:spChg>
        <pc:spChg chg="mod">
          <ac:chgData name="Tan, Vincent (Allianz SE Singapore Branch)" userId="bbbac036-7280-4bac-9c0d-a2e2069e1d29" providerId="ADAL" clId="{9705F007-7B00-4062-93A0-BA587561B57D}" dt="2021-07-14T04:55:50.620" v="5115" actId="20577"/>
          <ac:spMkLst>
            <pc:docMk/>
            <pc:sldMk cId="3265245596" sldId="335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5T11:05:13.958" v="7560" actId="478"/>
          <ac:spMkLst>
            <pc:docMk/>
            <pc:sldMk cId="3265245596" sldId="335"/>
            <ac:spMk id="19" creationId="{9EE7E55D-2F5E-4B4B-A3A2-C4E64642A974}"/>
          </ac:spMkLst>
        </pc:spChg>
        <pc:spChg chg="del mod">
          <ac:chgData name="Tan, Vincent (Allianz SE Singapore Branch)" userId="bbbac036-7280-4bac-9c0d-a2e2069e1d29" providerId="ADAL" clId="{9705F007-7B00-4062-93A0-BA587561B57D}" dt="2021-07-14T04:55:57.277" v="5117" actId="478"/>
          <ac:spMkLst>
            <pc:docMk/>
            <pc:sldMk cId="3265245596" sldId="335"/>
            <ac:spMk id="30" creationId="{ACEFB11C-B284-4AB9-96A9-123975EAF737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3.712" v="7526"/>
          <ac:spMkLst>
            <pc:docMk/>
            <pc:sldMk cId="3265245596" sldId="335"/>
            <ac:spMk id="30" creationId="{C23767C8-7B3C-4BEE-8456-B616D49D94AE}"/>
          </ac:spMkLst>
        </pc:spChg>
        <pc:spChg chg="mod">
          <ac:chgData name="Tan, Vincent (Allianz SE Singapore Branch)" userId="bbbac036-7280-4bac-9c0d-a2e2069e1d29" providerId="ADAL" clId="{9705F007-7B00-4062-93A0-BA587561B57D}" dt="2021-07-15T07:16:23.712" v="7526"/>
          <ac:spMkLst>
            <pc:docMk/>
            <pc:sldMk cId="3265245596" sldId="335"/>
            <ac:spMk id="31" creationId="{65034BD7-F217-44A2-B4DA-EDB6A1AC5647}"/>
          </ac:spMkLst>
        </pc:spChg>
        <pc:spChg chg="mod">
          <ac:chgData name="Tan, Vincent (Allianz SE Singapore Branch)" userId="bbbac036-7280-4bac-9c0d-a2e2069e1d29" providerId="ADAL" clId="{9705F007-7B00-4062-93A0-BA587561B57D}" dt="2021-07-15T12:02:09.320" v="7661" actId="1076"/>
          <ac:spMkLst>
            <pc:docMk/>
            <pc:sldMk cId="3265245596" sldId="335"/>
            <ac:spMk id="36" creationId="{EFD68281-062F-42E5-AAD5-F6CADCDBF014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1:57:37.864" v="7650" actId="1076"/>
          <ac:spMkLst>
            <pc:docMk/>
            <pc:sldMk cId="3265245596" sldId="335"/>
            <ac:spMk id="39" creationId="{217EFEEE-813A-4C66-B5CD-6E83B64C2BD5}"/>
          </ac:spMkLst>
        </pc:spChg>
        <pc:grpChg chg="del">
          <ac:chgData name="Tan, Vincent (Allianz SE Singapore Branch)" userId="bbbac036-7280-4bac-9c0d-a2e2069e1d29" providerId="ADAL" clId="{9705F007-7B00-4062-93A0-BA587561B57D}" dt="2021-07-15T11:05:13.958" v="7560" actId="478"/>
          <ac:grpSpMkLst>
            <pc:docMk/>
            <pc:sldMk cId="3265245596" sldId="335"/>
            <ac:grpSpMk id="14" creationId="{9F877177-3F70-427C-8586-BE46BD21CE25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1:57:37.864" v="7650" actId="1076"/>
          <ac:grpSpMkLst>
            <pc:docMk/>
            <pc:sldMk cId="3265245596" sldId="335"/>
            <ac:grpSpMk id="29" creationId="{4B5972B8-00E7-414A-BE77-65EC7F58D504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4T04:56:12.320" v="5148" actId="1036"/>
          <ac:grpSpMkLst>
            <pc:docMk/>
            <pc:sldMk cId="3265245596" sldId="335"/>
            <ac:grpSpMk id="32" creationId="{53B42251-0831-4070-A69C-CEF1979D73F1}"/>
          </ac:grpSpMkLst>
        </pc:grpChg>
        <pc:grpChg chg="del">
          <ac:chgData name="Tan, Vincent (Allianz SE Singapore Branch)" userId="bbbac036-7280-4bac-9c0d-a2e2069e1d29" providerId="ADAL" clId="{9705F007-7B00-4062-93A0-BA587561B57D}" dt="2021-07-15T07:16:32.234" v="7528" actId="478"/>
          <ac:grpSpMkLst>
            <pc:docMk/>
            <pc:sldMk cId="3265245596" sldId="335"/>
            <ac:grpSpMk id="33" creationId="{7562B530-5401-4134-8A72-A9DEBC55E800}"/>
          </ac:grpSpMkLst>
        </pc:grpChg>
        <pc:graphicFrameChg chg="mod modGraphic">
          <ac:chgData name="Tan, Vincent (Allianz SE Singapore Branch)" userId="bbbac036-7280-4bac-9c0d-a2e2069e1d29" providerId="ADAL" clId="{9705F007-7B00-4062-93A0-BA587561B57D}" dt="2021-07-15T11:57:59.556" v="7655" actId="6549"/>
          <ac:graphicFrameMkLst>
            <pc:docMk/>
            <pc:sldMk cId="3265245596" sldId="335"/>
            <ac:graphicFrameMk id="20" creationId="{49D53C52-A63D-4072-8862-98D5841FBB3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2:01:44.248" v="7660" actId="1076"/>
          <ac:graphicFrameMkLst>
            <pc:docMk/>
            <pc:sldMk cId="3265245596" sldId="335"/>
            <ac:graphicFrameMk id="33" creationId="{0DBF25BE-7C33-4BAD-8A0D-37B26BFB4225}"/>
          </ac:graphicFrameMkLst>
        </pc:graphicFrameChg>
        <pc:picChg chg="del">
          <ac:chgData name="Tan, Vincent (Allianz SE Singapore Branch)" userId="bbbac036-7280-4bac-9c0d-a2e2069e1d29" providerId="ADAL" clId="{9705F007-7B00-4062-93A0-BA587561B57D}" dt="2021-07-14T04:55:59.128" v="5119" actId="478"/>
          <ac:picMkLst>
            <pc:docMk/>
            <pc:sldMk cId="3265245596" sldId="335"/>
            <ac:picMk id="29" creationId="{1BDEB629-32A1-4635-A897-DD0145868E79}"/>
          </ac:picMkLst>
        </pc:picChg>
        <pc:picChg chg="del">
          <ac:chgData name="Tan, Vincent (Allianz SE Singapore Branch)" userId="bbbac036-7280-4bac-9c0d-a2e2069e1d29" providerId="ADAL" clId="{9705F007-7B00-4062-93A0-BA587561B57D}" dt="2021-07-14T04:55:58.153" v="5118" actId="478"/>
          <ac:picMkLst>
            <pc:docMk/>
            <pc:sldMk cId="3265245596" sldId="335"/>
            <ac:picMk id="31" creationId="{FB095221-66AE-4AB9-A93B-A2C5854C8502}"/>
          </ac:picMkLst>
        </pc:picChg>
        <pc:picChg chg="mod">
          <ac:chgData name="Tan, Vincent (Allianz SE Singapore Branch)" userId="bbbac036-7280-4bac-9c0d-a2e2069e1d29" providerId="ADAL" clId="{9705F007-7B00-4062-93A0-BA587561B57D}" dt="2021-07-14T04:56:06.152" v="5120"/>
          <ac:picMkLst>
            <pc:docMk/>
            <pc:sldMk cId="3265245596" sldId="335"/>
            <ac:picMk id="37" creationId="{77F7AECE-A03A-4B44-A6DE-10EC99C60397}"/>
          </ac:picMkLst>
        </pc:picChg>
        <pc:picChg chg="mod">
          <ac:chgData name="Tan, Vincent (Allianz SE Singapore Branch)" userId="bbbac036-7280-4bac-9c0d-a2e2069e1d29" providerId="ADAL" clId="{9705F007-7B00-4062-93A0-BA587561B57D}" dt="2021-07-14T04:56:06.152" v="5120"/>
          <ac:picMkLst>
            <pc:docMk/>
            <pc:sldMk cId="3265245596" sldId="335"/>
            <ac:picMk id="38" creationId="{0093E2CD-3124-4B68-A6A4-0A7045297977}"/>
          </ac:picMkLst>
        </pc:picChg>
      </pc:sldChg>
      <pc:sldChg chg="addSp delSp modSp add mod">
        <pc:chgData name="Tan, Vincent (Allianz SE Singapore Branch)" userId="bbbac036-7280-4bac-9c0d-a2e2069e1d29" providerId="ADAL" clId="{9705F007-7B00-4062-93A0-BA587561B57D}" dt="2021-07-18T12:42:10.734" v="10291" actId="1037"/>
        <pc:sldMkLst>
          <pc:docMk/>
          <pc:sldMk cId="1903923561" sldId="336"/>
        </pc:sldMkLst>
        <pc:spChg chg="add del mod">
          <ac:chgData name="Tan, Vincent (Allianz SE Singapore Branch)" userId="bbbac036-7280-4bac-9c0d-a2e2069e1d29" providerId="ADAL" clId="{9705F007-7B00-4062-93A0-BA587561B57D}" dt="2021-07-14T05:25:34.367" v="5940"/>
          <ac:spMkLst>
            <pc:docMk/>
            <pc:sldMk cId="1903923561" sldId="336"/>
            <ac:spMk id="2" creationId="{55CCD4A1-1183-4E3B-BE0E-56733A0C20A6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5:35:50.389" v="6361" actId="1036"/>
          <ac:spMkLst>
            <pc:docMk/>
            <pc:sldMk cId="1903923561" sldId="336"/>
            <ac:spMk id="3" creationId="{5F4DC547-05BF-4E0F-AE44-8567AF0BAC31}"/>
          </ac:spMkLst>
        </pc:spChg>
        <pc:spChg chg="mod">
          <ac:chgData name="Tan, Vincent (Allianz SE Singapore Branch)" userId="bbbac036-7280-4bac-9c0d-a2e2069e1d29" providerId="ADAL" clId="{9705F007-7B00-4062-93A0-BA587561B57D}" dt="2021-07-15T14:21:46.427" v="9208" actId="1036"/>
          <ac:spMkLst>
            <pc:docMk/>
            <pc:sldMk cId="1903923561" sldId="336"/>
            <ac:spMk id="5" creationId="{5990B510-2C92-4B48-BB51-5C5D8CD1730F}"/>
          </ac:spMkLst>
        </pc:spChg>
        <pc:spChg chg="del">
          <ac:chgData name="Tan, Vincent (Allianz SE Singapore Branch)" userId="bbbac036-7280-4bac-9c0d-a2e2069e1d29" providerId="ADAL" clId="{9705F007-7B00-4062-93A0-BA587561B57D}" dt="2021-07-14T05:32:37.768" v="6214" actId="478"/>
          <ac:spMkLst>
            <pc:docMk/>
            <pc:sldMk cId="1903923561" sldId="336"/>
            <ac:spMk id="9" creationId="{04035A73-03EB-4AAD-B67F-08A711353D1C}"/>
          </ac:spMkLst>
        </pc:spChg>
        <pc:spChg chg="mod">
          <ac:chgData name="Tan, Vincent (Allianz SE Singapore Branch)" userId="bbbac036-7280-4bac-9c0d-a2e2069e1d29" providerId="ADAL" clId="{9705F007-7B00-4062-93A0-BA587561B57D}" dt="2021-07-18T12:42:03.672" v="10285" actId="1076"/>
          <ac:spMkLst>
            <pc:docMk/>
            <pc:sldMk cId="1903923561" sldId="336"/>
            <ac:spMk id="11" creationId="{DB8D6F0A-A618-495F-AC3E-56829AF11EE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4:34.834" v="5266" actId="478"/>
          <ac:spMkLst>
            <pc:docMk/>
            <pc:sldMk cId="1903923561" sldId="336"/>
            <ac:spMk id="17" creationId="{9D170523-EAF2-47DC-B951-6D6DB980FBB7}"/>
          </ac:spMkLst>
        </pc:spChg>
        <pc:spChg chg="del">
          <ac:chgData name="Tan, Vincent (Allianz SE Singapore Branch)" userId="bbbac036-7280-4bac-9c0d-a2e2069e1d29" providerId="ADAL" clId="{9705F007-7B00-4062-93A0-BA587561B57D}" dt="2021-07-14T05:38:21.144" v="6422" actId="478"/>
          <ac:spMkLst>
            <pc:docMk/>
            <pc:sldMk cId="1903923561" sldId="336"/>
            <ac:spMk id="19" creationId="{9EE7E55D-2F5E-4B4B-A3A2-C4E64642A974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22" creationId="{3534AC01-2FC7-4BF5-B437-FAA542AA85FE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23" creationId="{2AD45FE8-876D-4385-B738-EC4CCEDA0A29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29" creationId="{1B314265-4046-4B20-80F6-CF460BBF7B7E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0" creationId="{34A09CD8-2628-4C38-A743-5404E55A45F1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1" creationId="{AC8086D9-4DAB-4B92-A51C-9945AB786B54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2" creationId="{59586C15-EDC0-47E6-9EA6-4F61EE85B294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6" creationId="{4364410F-AAA1-4858-A0EA-818216E39977}"/>
          </ac:spMkLst>
        </pc:spChg>
        <pc:spChg chg="del">
          <ac:chgData name="Tan, Vincent (Allianz SE Singapore Branch)" userId="bbbac036-7280-4bac-9c0d-a2e2069e1d29" providerId="ADAL" clId="{9705F007-7B00-4062-93A0-BA587561B57D}" dt="2021-07-14T05:09:12.110" v="5180" actId="478"/>
          <ac:spMkLst>
            <pc:docMk/>
            <pc:sldMk cId="1903923561" sldId="336"/>
            <ac:spMk id="36" creationId="{EFD68281-062F-42E5-AAD5-F6CADCDBF014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7" creationId="{4F204DA9-3756-408E-AADD-C9D3EA2C1D84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8" creationId="{D92F9B29-81A6-4092-B606-3C1BCBCBBB38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39" creationId="{36CD1DC8-4FB0-4DDD-BCA4-CA9633D5163B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40" creationId="{6F43E06A-0B67-4A5D-90ED-8F8DB74B0A09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41" creationId="{6B85368D-2738-45C2-ACB6-AE346A953D4B}"/>
          </ac:spMkLst>
        </pc:spChg>
        <pc:spChg chg="mod">
          <ac:chgData name="Tan, Vincent (Allianz SE Singapore Branch)" userId="bbbac036-7280-4bac-9c0d-a2e2069e1d29" providerId="ADAL" clId="{9705F007-7B00-4062-93A0-BA587561B57D}" dt="2021-07-14T05:14:50.763" v="5267"/>
          <ac:spMkLst>
            <pc:docMk/>
            <pc:sldMk cId="1903923561" sldId="336"/>
            <ac:spMk id="42" creationId="{66370080-DA8C-48EE-80DE-2908E37CC36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3" creationId="{100DD215-800A-495A-B298-20CADF54E2AA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4" creationId="{EF54B64C-BD77-4E91-B0F7-FD97044DF49C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5" creationId="{A997D62B-C7D7-4BF2-A639-68E08DF94CB8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6" creationId="{3E3773DF-CBD2-4C4A-9636-F4349085372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7" creationId="{A418A991-C36A-4772-ACE1-5628ADE4396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8" creationId="{1F49316C-4695-48D6-85EB-25628061A585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49" creationId="{1C29D5FA-1315-4996-9ABD-EE961F3D1D9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50" creationId="{7E69BD38-7580-415D-B35B-E71900278494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15:03.388" v="5268"/>
          <ac:spMkLst>
            <pc:docMk/>
            <pc:sldMk cId="1903923561" sldId="336"/>
            <ac:spMk id="54" creationId="{F5CA6390-7859-495B-AA8D-D2C00901F64E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55" creationId="{F0AE0053-E450-4916-AB44-C1059865F877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56" creationId="{8360FD39-9864-460F-A0BA-C7935262DA0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57" creationId="{403434AA-A50B-4D2A-BA56-96898C3DFFD9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5:35:50.389" v="6361" actId="1036"/>
          <ac:spMkLst>
            <pc:docMk/>
            <pc:sldMk cId="1903923561" sldId="336"/>
            <ac:spMk id="59" creationId="{94F7049C-644E-416A-9842-985AD6A8D535}"/>
          </ac:spMkLst>
        </pc:spChg>
        <pc:spChg chg="mod">
          <ac:chgData name="Tan, Vincent (Allianz SE Singapore Branch)" userId="bbbac036-7280-4bac-9c0d-a2e2069e1d29" providerId="ADAL" clId="{9705F007-7B00-4062-93A0-BA587561B57D}" dt="2021-07-18T12:42:00.321" v="10283" actId="1582"/>
          <ac:spMkLst>
            <pc:docMk/>
            <pc:sldMk cId="1903923561" sldId="336"/>
            <ac:spMk id="61" creationId="{BDCF4607-F73F-40BD-9B95-09F1707F3E45}"/>
          </ac:spMkLst>
        </pc:spChg>
        <pc:spChg chg="mod">
          <ac:chgData name="Tan, Vincent (Allianz SE Singapore Branch)" userId="bbbac036-7280-4bac-9c0d-a2e2069e1d29" providerId="ADAL" clId="{9705F007-7B00-4062-93A0-BA587561B57D}" dt="2021-07-18T12:42:00.321" v="10283" actId="1582"/>
          <ac:spMkLst>
            <pc:docMk/>
            <pc:sldMk cId="1903923561" sldId="336"/>
            <ac:spMk id="62" creationId="{6E313735-FBD4-4A49-9921-FD0FE92D7AEF}"/>
          </ac:spMkLst>
        </pc:spChg>
        <pc:spChg chg="mod">
          <ac:chgData name="Tan, Vincent (Allianz SE Singapore Branch)" userId="bbbac036-7280-4bac-9c0d-a2e2069e1d29" providerId="ADAL" clId="{9705F007-7B00-4062-93A0-BA587561B57D}" dt="2021-07-14T05:20:34.396" v="5647"/>
          <ac:spMkLst>
            <pc:docMk/>
            <pc:sldMk cId="1903923561" sldId="336"/>
            <ac:spMk id="64" creationId="{08165281-264E-4C1C-8E1C-1A9CDC2142F4}"/>
          </ac:spMkLst>
        </pc:spChg>
        <pc:spChg chg="mod">
          <ac:chgData name="Tan, Vincent (Allianz SE Singapore Branch)" userId="bbbac036-7280-4bac-9c0d-a2e2069e1d29" providerId="ADAL" clId="{9705F007-7B00-4062-93A0-BA587561B57D}" dt="2021-07-14T05:20:34.396" v="5647"/>
          <ac:spMkLst>
            <pc:docMk/>
            <pc:sldMk cId="1903923561" sldId="336"/>
            <ac:spMk id="65" creationId="{F72EEFDD-1BFE-4EE9-B6EE-7322321787CE}"/>
          </ac:spMkLst>
        </pc:spChg>
        <pc:spChg chg="add mod or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66" creationId="{054D1615-13F2-4CE3-8722-FA90DFDE8307}"/>
          </ac:spMkLst>
        </pc:spChg>
        <pc:spChg chg="add mod or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67" creationId="{632E22BB-A78B-45CE-9422-538BD78036C3}"/>
          </ac:spMkLst>
        </pc:spChg>
        <pc:spChg chg="add mod or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68" creationId="{18D946F6-F1E0-4CF0-8ADE-08723F0E15A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5:38:58.288" v="6424" actId="207"/>
          <ac:spMkLst>
            <pc:docMk/>
            <pc:sldMk cId="1903923561" sldId="336"/>
            <ac:spMk id="80" creationId="{C5263F68-E496-45B6-BAEC-2158FE53B6EB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7:01.578" v="9457" actId="1036"/>
          <ac:spMkLst>
            <pc:docMk/>
            <pc:sldMk cId="1903923561" sldId="336"/>
            <ac:spMk id="81" creationId="{BC38082D-9F43-467B-B401-024F1502724A}"/>
          </ac:spMkLst>
        </pc:spChg>
        <pc:grpChg chg="del">
          <ac:chgData name="Tan, Vincent (Allianz SE Singapore Branch)" userId="bbbac036-7280-4bac-9c0d-a2e2069e1d29" providerId="ADAL" clId="{9705F007-7B00-4062-93A0-BA587561B57D}" dt="2021-07-14T05:38:21.144" v="6422" actId="478"/>
          <ac:grpSpMkLst>
            <pc:docMk/>
            <pc:sldMk cId="1903923561" sldId="336"/>
            <ac:grpSpMk id="14" creationId="{9F877177-3F70-427C-8586-BE46BD21CE25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5:15:03.388" v="5268"/>
          <ac:grpSpMkLst>
            <pc:docMk/>
            <pc:sldMk cId="1903923561" sldId="336"/>
            <ac:grpSpMk id="21" creationId="{B0CD88DB-7A5E-4AE9-8322-FE973F0B37E1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5:09:08.648" v="5179" actId="478"/>
          <ac:grpSpMkLst>
            <pc:docMk/>
            <pc:sldMk cId="1903923561" sldId="336"/>
            <ac:grpSpMk id="32" creationId="{53B42251-0831-4070-A69C-CEF1979D73F1}"/>
          </ac:grpSpMkLst>
        </pc:grpChg>
        <pc:grpChg chg="del">
          <ac:chgData name="Tan, Vincent (Allianz SE Singapore Branch)" userId="bbbac036-7280-4bac-9c0d-a2e2069e1d29" providerId="ADAL" clId="{9705F007-7B00-4062-93A0-BA587561B57D}" dt="2021-07-14T05:32:37.768" v="6214" actId="478"/>
          <ac:grpSpMkLst>
            <pc:docMk/>
            <pc:sldMk cId="1903923561" sldId="336"/>
            <ac:grpSpMk id="33" creationId="{7562B530-5401-4134-8A72-A9DEBC55E800}"/>
          </ac:grpSpMkLst>
        </pc:grpChg>
        <pc:grpChg chg="add mod ord">
          <ac:chgData name="Tan, Vincent (Allianz SE Singapore Branch)" userId="bbbac036-7280-4bac-9c0d-a2e2069e1d29" providerId="ADAL" clId="{9705F007-7B00-4062-93A0-BA587561B57D}" dt="2021-07-18T12:42:10.734" v="10291" actId="1037"/>
          <ac:grpSpMkLst>
            <pc:docMk/>
            <pc:sldMk cId="1903923561" sldId="336"/>
            <ac:grpSpMk id="60" creationId="{DF2713BA-09BF-4518-BBB8-2ADC8ACD1AA1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5:20:53.720" v="5714" actId="478"/>
          <ac:grpSpMkLst>
            <pc:docMk/>
            <pc:sldMk cId="1903923561" sldId="336"/>
            <ac:grpSpMk id="63" creationId="{255E18CA-6F28-4329-BCCB-2F1DE85A7DA0}"/>
          </ac:grpSpMkLst>
        </pc:grpChg>
        <pc:graphicFrameChg chg="mod modGraphic">
          <ac:chgData name="Tan, Vincent (Allianz SE Singapore Branch)" userId="bbbac036-7280-4bac-9c0d-a2e2069e1d29" providerId="ADAL" clId="{9705F007-7B00-4062-93A0-BA587561B57D}" dt="2021-07-14T05:36:21.310" v="6365" actId="207"/>
          <ac:graphicFrameMkLst>
            <pc:docMk/>
            <pc:sldMk cId="1903923561" sldId="336"/>
            <ac:graphicFrameMk id="20" creationId="{49D53C52-A63D-4072-8862-98D5841FBB3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5:36:15.143" v="6363" actId="207"/>
          <ac:graphicFrameMkLst>
            <pc:docMk/>
            <pc:sldMk cId="1903923561" sldId="336"/>
            <ac:graphicFrameMk id="58" creationId="{63828FFA-B83C-4F9C-9E2A-D0C1060A2180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2" creationId="{2C85B9B8-9838-4D7C-A7E3-9D1E7FB067B1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3" creationId="{81A658AD-3FC0-4CE2-AB8D-DB66A1E238E5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4" creationId="{AA00163E-71D3-4D21-A25E-92CA127C6E56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5" creationId="{B73A2609-3C9B-4389-8178-53A5EA3AB740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6" creationId="{C278D20D-B4BA-4E27-AD3D-16BD5592AFD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01.578" v="9457" actId="1036"/>
          <ac:graphicFrameMkLst>
            <pc:docMk/>
            <pc:sldMk cId="1903923561" sldId="336"/>
            <ac:graphicFrameMk id="77" creationId="{E17F4DF8-6E4A-4514-98C6-76160FA2803B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5:30:51.315" v="6185"/>
          <ac:graphicFrameMkLst>
            <pc:docMk/>
            <pc:sldMk cId="1903923561" sldId="336"/>
            <ac:graphicFrameMk id="78" creationId="{F11AB9FC-68CB-4202-A5E5-7B71FA066A6A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5:30:51.315" v="6185"/>
          <ac:graphicFrameMkLst>
            <pc:docMk/>
            <pc:sldMk cId="1903923561" sldId="336"/>
            <ac:graphicFrameMk id="79" creationId="{A72CB79B-100D-4D59-8799-69C7938616A3}"/>
          </ac:graphicFrameMkLst>
        </pc:graphicFrameChg>
        <pc:picChg chg="add del mod">
          <ac:chgData name="Tan, Vincent (Allianz SE Singapore Branch)" userId="bbbac036-7280-4bac-9c0d-a2e2069e1d29" providerId="ADAL" clId="{9705F007-7B00-4062-93A0-BA587561B57D}" dt="2021-07-14T05:15:03.388" v="5268"/>
          <ac:picMkLst>
            <pc:docMk/>
            <pc:sldMk cId="1903923561" sldId="336"/>
            <ac:picMk id="51" creationId="{F5EDE019-211F-4C0C-9E25-927FCE306DDC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5:15:03.388" v="5268"/>
          <ac:picMkLst>
            <pc:docMk/>
            <pc:sldMk cId="1903923561" sldId="336"/>
            <ac:picMk id="52" creationId="{F8D004A5-8EDB-4AF3-A6D6-7B8961320E36}"/>
          </ac:picMkLst>
        </pc:picChg>
        <pc:picChg chg="add del mod">
          <ac:chgData name="Tan, Vincent (Allianz SE Singapore Branch)" userId="bbbac036-7280-4bac-9c0d-a2e2069e1d29" providerId="ADAL" clId="{9705F007-7B00-4062-93A0-BA587561B57D}" dt="2021-07-14T05:15:03.388" v="5268"/>
          <ac:picMkLst>
            <pc:docMk/>
            <pc:sldMk cId="1903923561" sldId="336"/>
            <ac:picMk id="53" creationId="{8F66CFA5-9CD6-4F6F-8175-FE05B03EDEAF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5T14:37:01.578" v="9457" actId="1036"/>
          <ac:picMkLst>
            <pc:docMk/>
            <pc:sldMk cId="1903923561" sldId="336"/>
            <ac:picMk id="69" creationId="{49AEA823-34CA-4573-ADC6-C79394770539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5T14:37:01.578" v="9457" actId="1036"/>
          <ac:picMkLst>
            <pc:docMk/>
            <pc:sldMk cId="1903923561" sldId="336"/>
            <ac:picMk id="70" creationId="{B3DF55E5-CD8A-4606-801A-9FAEB97F7312}"/>
          </ac:picMkLst>
        </pc:picChg>
        <pc:picChg chg="add mod">
          <ac:chgData name="Tan, Vincent (Allianz SE Singapore Branch)" userId="bbbac036-7280-4bac-9c0d-a2e2069e1d29" providerId="ADAL" clId="{9705F007-7B00-4062-93A0-BA587561B57D}" dt="2021-07-15T14:37:01.578" v="9457" actId="1036"/>
          <ac:picMkLst>
            <pc:docMk/>
            <pc:sldMk cId="1903923561" sldId="336"/>
            <ac:picMk id="71" creationId="{E6322A3A-6589-4C6B-B29D-7FAE25A9FD78}"/>
          </ac:picMkLst>
        </pc:picChg>
      </pc:sldChg>
      <pc:sldChg chg="addSp delSp modSp add mod">
        <pc:chgData name="Tan, Vincent (Allianz SE Singapore Branch)" userId="bbbac036-7280-4bac-9c0d-a2e2069e1d29" providerId="ADAL" clId="{9705F007-7B00-4062-93A0-BA587561B57D}" dt="2021-07-16T09:27:22.869" v="10232" actId="164"/>
        <pc:sldMkLst>
          <pc:docMk/>
          <pc:sldMk cId="2663922343" sldId="337"/>
        </pc:sldMkLst>
        <pc:spChg chg="mod">
          <ac:chgData name="Tan, Vincent (Allianz SE Singapore Branch)" userId="bbbac036-7280-4bac-9c0d-a2e2069e1d29" providerId="ADAL" clId="{9705F007-7B00-4062-93A0-BA587561B57D}" dt="2021-07-15T14:39:55.516" v="9556" actId="1035"/>
          <ac:spMkLst>
            <pc:docMk/>
            <pc:sldMk cId="2663922343" sldId="337"/>
            <ac:spMk id="2" creationId="{F4D8679F-976F-4A87-93E4-373065C089FE}"/>
          </ac:spMkLst>
        </pc:spChg>
        <pc:spChg chg="mod">
          <ac:chgData name="Tan, Vincent (Allianz SE Singapore Branch)" userId="bbbac036-7280-4bac-9c0d-a2e2069e1d29" providerId="ADAL" clId="{9705F007-7B00-4062-93A0-BA587561B57D}" dt="2021-07-15T14:37:20.897" v="9490" actId="1036"/>
          <ac:spMkLst>
            <pc:docMk/>
            <pc:sldMk cId="2663922343" sldId="337"/>
            <ac:spMk id="5" creationId="{DC3D4F48-EF35-4172-A78A-C0FC95F07E3B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8:24.502" v="9497" actId="255"/>
          <ac:spMkLst>
            <pc:docMk/>
            <pc:sldMk cId="2663922343" sldId="337"/>
            <ac:spMk id="17" creationId="{61C54729-3369-4932-A252-293248BDA65D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8:32.168" v="9499" actId="255"/>
          <ac:spMkLst>
            <pc:docMk/>
            <pc:sldMk cId="2663922343" sldId="337"/>
            <ac:spMk id="18" creationId="{C71DA217-739F-4C07-834C-CF278F40E48B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7:42.544" v="9493" actId="207"/>
          <ac:spMkLst>
            <pc:docMk/>
            <pc:sldMk cId="2663922343" sldId="337"/>
            <ac:spMk id="19" creationId="{B5D1E872-DFDC-4AD2-903E-4AACCC35D2BC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8:10.320" v="9496" actId="255"/>
          <ac:spMkLst>
            <pc:docMk/>
            <pc:sldMk cId="2663922343" sldId="337"/>
            <ac:spMk id="22" creationId="{EB8F0416-60F4-41C5-9BC1-14888905E369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4" creationId="{7FCEA900-A3F8-432D-80DB-F668933E9EE3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5" creationId="{7978A9CA-3C35-4851-8E79-1BD30F8F3FD6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6" creationId="{A902DE66-1160-45DE-BBBE-F48B33B2086C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7" creationId="{2BE1BA1F-8073-4656-867F-74A008435A11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8" creationId="{679C6DAF-98D2-4E04-BD15-00AB428B5053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29" creationId="{2D94D76F-C83E-4A27-9539-A410C09BA099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30" creationId="{CB972ED2-C12A-4A22-BC7E-82EACA8CBCE5}"/>
          </ac:spMkLst>
        </pc:spChg>
        <pc:spChg chg="del">
          <ac:chgData name="Tan, Vincent (Allianz SE Singapore Branch)" userId="bbbac036-7280-4bac-9c0d-a2e2069e1d29" providerId="ADAL" clId="{9705F007-7B00-4062-93A0-BA587561B57D}" dt="2021-07-14T07:32:07.285" v="6935" actId="478"/>
          <ac:spMkLst>
            <pc:docMk/>
            <pc:sldMk cId="2663922343" sldId="337"/>
            <ac:spMk id="31" creationId="{8CA8059D-F521-4BE9-BC94-5597BCB8DAC2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2" creationId="{0F983F44-E80C-4A12-A69E-57987BB9A0D1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3" creationId="{8FA96A34-54D8-4ACA-A478-70DE599D3BE1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4" creationId="{79559485-DAF0-4988-8797-4E00B5ED8AB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5" creationId="{58A6C356-44C0-4F4E-B29F-C0F3F971B670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6" creationId="{3FD7F217-A51E-4140-8E4E-17E8ECD9CF6F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7" creationId="{A71A96BD-7685-4FEF-A9F6-A108289D7E27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8" creationId="{C9B9FAC0-0B2B-44DB-899C-C9D04D14BF7F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39" creationId="{7F49D070-4AE5-4600-A849-7102231BE2C8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0" creationId="{E338A92F-BA44-46C0-89E1-61C419452397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1" creationId="{14329E0E-F364-4B6C-B0A9-FF7C987F290F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2" creationId="{7194F16B-A6D3-4DA4-8242-90B733586A1A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4" creationId="{AF258A7B-D2FE-4FB8-A016-CF71A30F908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5" creationId="{8A2BA4F9-61E6-484C-AABA-2CD5963829F2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6" creationId="{1BFE5865-0209-458D-B14F-B3CDB4F6C8EA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47" creationId="{C18C4E22-0954-4114-9440-7B77ECAFBAAF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51" creationId="{31C16951-6375-4C58-AE80-A9073242FD2D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22.869" v="10232" actId="164"/>
          <ac:spMkLst>
            <pc:docMk/>
            <pc:sldMk cId="2663922343" sldId="337"/>
            <ac:spMk id="52" creationId="{196136E5-EF61-4F49-BA4D-C00B3F7F32C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9:15:45.995" v="10227" actId="478"/>
          <ac:spMkLst>
            <pc:docMk/>
            <pc:sldMk cId="2663922343" sldId="337"/>
            <ac:spMk id="53" creationId="{E5B37663-AD80-4B5E-A0FA-84B63319C2D1}"/>
          </ac:spMkLst>
        </pc:spChg>
        <pc:spChg chg="mod">
          <ac:chgData name="Tan, Vincent (Allianz SE Singapore Branch)" userId="bbbac036-7280-4bac-9c0d-a2e2069e1d29" providerId="ADAL" clId="{9705F007-7B00-4062-93A0-BA587561B57D}" dt="2021-07-16T09:16:45.541" v="10228"/>
          <ac:spMkLst>
            <pc:docMk/>
            <pc:sldMk cId="2663922343" sldId="337"/>
            <ac:spMk id="55" creationId="{46142267-EBB1-452B-B966-98581971F9AC}"/>
          </ac:spMkLst>
        </pc:spChg>
        <pc:spChg chg="mod">
          <ac:chgData name="Tan, Vincent (Allianz SE Singapore Branch)" userId="bbbac036-7280-4bac-9c0d-a2e2069e1d29" providerId="ADAL" clId="{9705F007-7B00-4062-93A0-BA587561B57D}" dt="2021-07-16T09:16:45.541" v="10228"/>
          <ac:spMkLst>
            <pc:docMk/>
            <pc:sldMk cId="2663922343" sldId="337"/>
            <ac:spMk id="56" creationId="{CE141FC7-5D08-493A-B044-846862E503E5}"/>
          </ac:spMkLst>
        </pc:spChg>
        <pc:spChg chg="add mod">
          <ac:chgData name="Tan, Vincent (Allianz SE Singapore Branch)" userId="bbbac036-7280-4bac-9c0d-a2e2069e1d29" providerId="ADAL" clId="{9705F007-7B00-4062-93A0-BA587561B57D}" dt="2021-07-16T09:27:05.851" v="10231" actId="1076"/>
          <ac:spMkLst>
            <pc:docMk/>
            <pc:sldMk cId="2663922343" sldId="337"/>
            <ac:spMk id="57" creationId="{A5BDE74E-2DEE-4407-AB94-F47A2C240CAD}"/>
          </ac:spMkLst>
        </pc:spChg>
        <pc:grpChg chg="add mod">
          <ac:chgData name="Tan, Vincent (Allianz SE Singapore Branch)" userId="bbbac036-7280-4bac-9c0d-a2e2069e1d29" providerId="ADAL" clId="{9705F007-7B00-4062-93A0-BA587561B57D}" dt="2021-07-16T09:27:22.869" v="10232" actId="164"/>
          <ac:grpSpMkLst>
            <pc:docMk/>
            <pc:sldMk cId="2663922343" sldId="337"/>
            <ac:grpSpMk id="3" creationId="{7FEF3875-D6EF-472F-B99C-0478F2CC8713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6T09:27:05.851" v="10231" actId="1076"/>
          <ac:grpSpMkLst>
            <pc:docMk/>
            <pc:sldMk cId="2663922343" sldId="337"/>
            <ac:grpSpMk id="54" creationId="{C72EC843-C3DF-401B-9EC7-0F6B38DDA4E8}"/>
          </ac:grpSpMkLst>
        </pc:grpChg>
        <pc:graphicFrameChg chg="del modGraphic">
          <ac:chgData name="Tan, Vincent (Allianz SE Singapore Branch)" userId="bbbac036-7280-4bac-9c0d-a2e2069e1d29" providerId="ADAL" clId="{9705F007-7B00-4062-93A0-BA587561B57D}" dt="2021-07-14T07:32:00.404" v="6932" actId="478"/>
          <ac:graphicFrameMkLst>
            <pc:docMk/>
            <pc:sldMk cId="2663922343" sldId="337"/>
            <ac:graphicFrameMk id="12" creationId="{4972E448-E9CD-4EAC-ADE8-AF96BAF3B4FB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5T14:37:32.325" v="9491" actId="207"/>
          <ac:graphicFrameMkLst>
            <pc:docMk/>
            <pc:sldMk cId="2663922343" sldId="337"/>
            <ac:graphicFrameMk id="20" creationId="{0747E69B-C202-4C13-B2A7-0CE97DBBA548}"/>
          </ac:graphicFrameMkLst>
        </pc:graphicFrameChg>
        <pc:graphicFrameChg chg="del">
          <ac:chgData name="Tan, Vincent (Allianz SE Singapore Branch)" userId="bbbac036-7280-4bac-9c0d-a2e2069e1d29" providerId="ADAL" clId="{9705F007-7B00-4062-93A0-BA587561B57D}" dt="2021-07-14T07:31:50.127" v="6930" actId="478"/>
          <ac:graphicFrameMkLst>
            <pc:docMk/>
            <pc:sldMk cId="2663922343" sldId="337"/>
            <ac:graphicFrameMk id="21" creationId="{3FF5303E-B672-4C91-88FA-BE34D4EE5191}"/>
          </ac:graphicFrameMkLst>
        </pc:graphicFrameChg>
        <pc:graphicFrameChg chg="del">
          <ac:chgData name="Tan, Vincent (Allianz SE Singapore Branch)" userId="bbbac036-7280-4bac-9c0d-a2e2069e1d29" providerId="ADAL" clId="{9705F007-7B00-4062-93A0-BA587561B57D}" dt="2021-07-14T07:32:00.404" v="6932" actId="478"/>
          <ac:graphicFrameMkLst>
            <pc:docMk/>
            <pc:sldMk cId="2663922343" sldId="337"/>
            <ac:graphicFrameMk id="23" creationId="{889417C5-91FD-460A-99A8-D9F37C0E2F3E}"/>
          </ac:graphicFrameMkLst>
        </pc:graphicFrameChg>
        <pc:cxnChg chg="add mod">
          <ac:chgData name="Tan, Vincent (Allianz SE Singapore Branch)" userId="bbbac036-7280-4bac-9c0d-a2e2069e1d29" providerId="ADAL" clId="{9705F007-7B00-4062-93A0-BA587561B57D}" dt="2021-07-16T09:27:22.869" v="10232" actId="164"/>
          <ac:cxnSpMkLst>
            <pc:docMk/>
            <pc:sldMk cId="2663922343" sldId="337"/>
            <ac:cxnSpMk id="43" creationId="{96BDE5B0-FB7A-45AC-A6A8-A71BF821638D}"/>
          </ac:cxnSpMkLst>
        </pc:cxnChg>
        <pc:cxnChg chg="add mod">
          <ac:chgData name="Tan, Vincent (Allianz SE Singapore Branch)" userId="bbbac036-7280-4bac-9c0d-a2e2069e1d29" providerId="ADAL" clId="{9705F007-7B00-4062-93A0-BA587561B57D}" dt="2021-07-16T09:27:22.869" v="10232" actId="164"/>
          <ac:cxnSpMkLst>
            <pc:docMk/>
            <pc:sldMk cId="2663922343" sldId="337"/>
            <ac:cxnSpMk id="48" creationId="{9A9F5FA3-63CB-47A2-99FE-61E5F30FAF90}"/>
          </ac:cxnSpMkLst>
        </pc:cxnChg>
        <pc:cxnChg chg="add mod">
          <ac:chgData name="Tan, Vincent (Allianz SE Singapore Branch)" userId="bbbac036-7280-4bac-9c0d-a2e2069e1d29" providerId="ADAL" clId="{9705F007-7B00-4062-93A0-BA587561B57D}" dt="2021-07-16T09:27:22.869" v="10232" actId="164"/>
          <ac:cxnSpMkLst>
            <pc:docMk/>
            <pc:sldMk cId="2663922343" sldId="337"/>
            <ac:cxnSpMk id="49" creationId="{63A1A030-0CC2-4067-A62D-D74111F1DE78}"/>
          </ac:cxnSpMkLst>
        </pc:cxnChg>
        <pc:cxnChg chg="add mod">
          <ac:chgData name="Tan, Vincent (Allianz SE Singapore Branch)" userId="bbbac036-7280-4bac-9c0d-a2e2069e1d29" providerId="ADAL" clId="{9705F007-7B00-4062-93A0-BA587561B57D}" dt="2021-07-16T09:27:22.869" v="10232" actId="164"/>
          <ac:cxnSpMkLst>
            <pc:docMk/>
            <pc:sldMk cId="2663922343" sldId="337"/>
            <ac:cxnSpMk id="50" creationId="{40E1A9B2-4B65-4AFB-BE23-C7814EB8DA16}"/>
          </ac:cxnSpMkLst>
        </pc:cxnChg>
      </pc:sldChg>
      <pc:sldChg chg="new del">
        <pc:chgData name="Tan, Vincent (Allianz SE Singapore Branch)" userId="bbbac036-7280-4bac-9c0d-a2e2069e1d29" providerId="ADAL" clId="{9705F007-7B00-4062-93A0-BA587561B57D}" dt="2021-07-14T05:52:18.965" v="6526" actId="47"/>
        <pc:sldMkLst>
          <pc:docMk/>
          <pc:sldMk cId="3839934373" sldId="337"/>
        </pc:sldMkLst>
      </pc:sldChg>
      <pc:sldChg chg="addSp delSp modSp add del mod">
        <pc:chgData name="Tan, Vincent (Allianz SE Singapore Branch)" userId="bbbac036-7280-4bac-9c0d-a2e2069e1d29" providerId="ADAL" clId="{9705F007-7B00-4062-93A0-BA587561B57D}" dt="2021-07-14T06:07:41.080" v="6827" actId="47"/>
        <pc:sldMkLst>
          <pc:docMk/>
          <pc:sldMk cId="4102764063" sldId="337"/>
        </pc:sldMkLst>
        <pc:spChg chg="mod">
          <ac:chgData name="Tan, Vincent (Allianz SE Singapore Branch)" userId="bbbac036-7280-4bac-9c0d-a2e2069e1d29" providerId="ADAL" clId="{9705F007-7B00-4062-93A0-BA587561B57D}" dt="2021-07-14T06:03:52.742" v="6802" actId="20577"/>
          <ac:spMkLst>
            <pc:docMk/>
            <pc:sldMk cId="4102764063" sldId="337"/>
            <ac:spMk id="2" creationId="{D94260D1-C400-40B5-BF78-325FA4720398}"/>
          </ac:spMkLst>
        </pc:spChg>
        <pc:spChg chg="mod">
          <ac:chgData name="Tan, Vincent (Allianz SE Singapore Branch)" userId="bbbac036-7280-4bac-9c0d-a2e2069e1d29" providerId="ADAL" clId="{9705F007-7B00-4062-93A0-BA587561B57D}" dt="2021-07-14T06:02:36.924" v="6742" actId="20577"/>
          <ac:spMkLst>
            <pc:docMk/>
            <pc:sldMk cId="4102764063" sldId="337"/>
            <ac:spMk id="5" creationId="{60310303-3B44-4A16-894C-C0D27EA0080F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5:53:13.780" v="6565" actId="14100"/>
          <ac:spMkLst>
            <pc:docMk/>
            <pc:sldMk cId="4102764063" sldId="337"/>
            <ac:spMk id="10" creationId="{B449E05C-F973-4841-BB88-3C21DC4C6955}"/>
          </ac:spMkLst>
        </pc:spChg>
        <pc:spChg chg="mod">
          <ac:chgData name="Tan, Vincent (Allianz SE Singapore Branch)" userId="bbbac036-7280-4bac-9c0d-a2e2069e1d29" providerId="ADAL" clId="{9705F007-7B00-4062-93A0-BA587561B57D}" dt="2021-07-14T05:52:46.771" v="6528"/>
          <ac:spMkLst>
            <pc:docMk/>
            <pc:sldMk cId="4102764063" sldId="337"/>
            <ac:spMk id="12" creationId="{8F5E0075-21FB-409D-A765-BF838F2101C5}"/>
          </ac:spMkLst>
        </pc:spChg>
        <pc:spChg chg="mod">
          <ac:chgData name="Tan, Vincent (Allianz SE Singapore Branch)" userId="bbbac036-7280-4bac-9c0d-a2e2069e1d29" providerId="ADAL" clId="{9705F007-7B00-4062-93A0-BA587561B57D}" dt="2021-07-14T05:52:46.771" v="6528"/>
          <ac:spMkLst>
            <pc:docMk/>
            <pc:sldMk cId="4102764063" sldId="337"/>
            <ac:spMk id="13" creationId="{A3986B6C-385F-4AB2-91E8-8D63424D5A48}"/>
          </ac:spMkLst>
        </pc:spChg>
        <pc:spChg chg="mod">
          <ac:chgData name="Tan, Vincent (Allianz SE Singapore Branch)" userId="bbbac036-7280-4bac-9c0d-a2e2069e1d29" providerId="ADAL" clId="{9705F007-7B00-4062-93A0-BA587561B57D}" dt="2021-07-14T05:52:46.771" v="6528"/>
          <ac:spMkLst>
            <pc:docMk/>
            <pc:sldMk cId="4102764063" sldId="337"/>
            <ac:spMk id="14" creationId="{EB768546-392B-4D7A-BAAD-5E851FFB08B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4T05:57:21.725" v="6676" actId="478"/>
          <ac:spMkLst>
            <pc:docMk/>
            <pc:sldMk cId="4102764063" sldId="337"/>
            <ac:spMk id="15" creationId="{A0A31AA5-086E-4F54-B54B-87F543EA5256}"/>
          </ac:spMkLst>
        </pc:spChg>
        <pc:spChg chg="mod">
          <ac:chgData name="Tan, Vincent (Allianz SE Singapore Branch)" userId="bbbac036-7280-4bac-9c0d-a2e2069e1d29" providerId="ADAL" clId="{9705F007-7B00-4062-93A0-BA587561B57D}" dt="2021-07-14T05:55:54.529" v="6669" actId="208"/>
          <ac:spMkLst>
            <pc:docMk/>
            <pc:sldMk cId="4102764063" sldId="337"/>
            <ac:spMk id="17" creationId="{429C0169-34AC-41B5-A9ED-9253AA95C7D7}"/>
          </ac:spMkLst>
        </pc:spChg>
        <pc:spChg chg="mod">
          <ac:chgData name="Tan, Vincent (Allianz SE Singapore Branch)" userId="bbbac036-7280-4bac-9c0d-a2e2069e1d29" providerId="ADAL" clId="{9705F007-7B00-4062-93A0-BA587561B57D}" dt="2021-07-14T05:55:54.529" v="6669" actId="208"/>
          <ac:spMkLst>
            <pc:docMk/>
            <pc:sldMk cId="4102764063" sldId="337"/>
            <ac:spMk id="19" creationId="{9E6E6F17-158C-4DDE-ADEC-04ADBB6BDC85}"/>
          </ac:spMkLst>
        </pc:spChg>
        <pc:spChg chg="mod">
          <ac:chgData name="Tan, Vincent (Allianz SE Singapore Branch)" userId="bbbac036-7280-4bac-9c0d-a2e2069e1d29" providerId="ADAL" clId="{9705F007-7B00-4062-93A0-BA587561B57D}" dt="2021-07-14T05:55:54.529" v="6669" actId="208"/>
          <ac:spMkLst>
            <pc:docMk/>
            <pc:sldMk cId="4102764063" sldId="337"/>
            <ac:spMk id="20" creationId="{4FD0D497-4253-495B-824D-E531A0DC8C28}"/>
          </ac:spMkLst>
        </pc:spChg>
        <pc:grpChg chg="add mod">
          <ac:chgData name="Tan, Vincent (Allianz SE Singapore Branch)" userId="bbbac036-7280-4bac-9c0d-a2e2069e1d29" providerId="ADAL" clId="{9705F007-7B00-4062-93A0-BA587561B57D}" dt="2021-07-14T05:52:46.771" v="6528"/>
          <ac:grpSpMkLst>
            <pc:docMk/>
            <pc:sldMk cId="4102764063" sldId="337"/>
            <ac:grpSpMk id="11" creationId="{18B37538-081C-4A5D-BBD9-EDC673D73817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4T05:57:18.803" v="6675" actId="478"/>
          <ac:grpSpMkLst>
            <pc:docMk/>
            <pc:sldMk cId="4102764063" sldId="337"/>
            <ac:grpSpMk id="16" creationId="{1BD6C4D7-84B2-478F-B722-0407DE93661E}"/>
          </ac:grpSpMkLst>
        </pc:grpChg>
        <pc:grpChg chg="mod">
          <ac:chgData name="Tan, Vincent (Allianz SE Singapore Branch)" userId="bbbac036-7280-4bac-9c0d-a2e2069e1d29" providerId="ADAL" clId="{9705F007-7B00-4062-93A0-BA587561B57D}" dt="2021-07-14T05:54:32.482" v="6638"/>
          <ac:grpSpMkLst>
            <pc:docMk/>
            <pc:sldMk cId="4102764063" sldId="337"/>
            <ac:grpSpMk id="18" creationId="{030A7C9C-09D3-46E0-AF01-357F9A1D3363}"/>
          </ac:grpSpMkLst>
        </pc:grpChg>
        <pc:graphicFrameChg chg="del">
          <ac:chgData name="Tan, Vincent (Allianz SE Singapore Branch)" userId="bbbac036-7280-4bac-9c0d-a2e2069e1d29" providerId="ADAL" clId="{9705F007-7B00-4062-93A0-BA587561B57D}" dt="2021-07-14T05:54:17.346" v="6637" actId="478"/>
          <ac:graphicFrameMkLst>
            <pc:docMk/>
            <pc:sldMk cId="4102764063" sldId="337"/>
            <ac:graphicFrameMk id="7" creationId="{161BA1E8-0D9E-4918-9399-CE7ADD0DFC16}"/>
          </ac:graphicFrameMkLst>
        </pc:graphicFrameChg>
        <pc:graphicFrameChg chg="del">
          <ac:chgData name="Tan, Vincent (Allianz SE Singapore Branch)" userId="bbbac036-7280-4bac-9c0d-a2e2069e1d29" providerId="ADAL" clId="{9705F007-7B00-4062-93A0-BA587561B57D}" dt="2021-07-14T05:55:06.878" v="6667" actId="478"/>
          <ac:graphicFrameMkLst>
            <pc:docMk/>
            <pc:sldMk cId="4102764063" sldId="337"/>
            <ac:graphicFrameMk id="8" creationId="{4254703B-CF56-476C-901F-4CA2093AFD47}"/>
          </ac:graphicFrameMkLst>
        </pc:graphicFrameChg>
        <pc:graphicFrameChg chg="del">
          <ac:chgData name="Tan, Vincent (Allianz SE Singapore Branch)" userId="bbbac036-7280-4bac-9c0d-a2e2069e1d29" providerId="ADAL" clId="{9705F007-7B00-4062-93A0-BA587561B57D}" dt="2021-07-14T05:54:17.346" v="6637" actId="478"/>
          <ac:graphicFrameMkLst>
            <pc:docMk/>
            <pc:sldMk cId="4102764063" sldId="337"/>
            <ac:graphicFrameMk id="9" creationId="{B019878C-7D70-4C2F-B262-C81638D1D15C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5:54:59.385" v="6666"/>
          <ac:graphicFrameMkLst>
            <pc:docMk/>
            <pc:sldMk cId="4102764063" sldId="337"/>
            <ac:graphicFrameMk id="21" creationId="{96B8FED8-5811-4F05-95F0-4457F24525E7}"/>
          </ac:graphicFrameMkLst>
        </pc:graphicFrameChg>
        <pc:graphicFrameChg chg="add del mod modGraphic">
          <ac:chgData name="Tan, Vincent (Allianz SE Singapore Branch)" userId="bbbac036-7280-4bac-9c0d-a2e2069e1d29" providerId="ADAL" clId="{9705F007-7B00-4062-93A0-BA587561B57D}" dt="2021-07-14T06:03:47.668" v="6801" actId="478"/>
          <ac:graphicFrameMkLst>
            <pc:docMk/>
            <pc:sldMk cId="4102764063" sldId="337"/>
            <ac:graphicFrameMk id="22" creationId="{502818A0-AFD0-44DE-B5AE-45E8DEA411EE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6:01:26.893" v="6710"/>
          <ac:graphicFrameMkLst>
            <pc:docMk/>
            <pc:sldMk cId="4102764063" sldId="337"/>
            <ac:graphicFrameMk id="23" creationId="{CDF08117-2FF4-454F-AEEC-704A5CB1B2FF}"/>
          </ac:graphicFrameMkLst>
        </pc:graphicFrameChg>
        <pc:graphicFrameChg chg="add del mod">
          <ac:chgData name="Tan, Vincent (Allianz SE Singapore Branch)" userId="bbbac036-7280-4bac-9c0d-a2e2069e1d29" providerId="ADAL" clId="{9705F007-7B00-4062-93A0-BA587561B57D}" dt="2021-07-14T06:01:26.510" v="6709"/>
          <ac:graphicFrameMkLst>
            <pc:docMk/>
            <pc:sldMk cId="4102764063" sldId="337"/>
            <ac:graphicFrameMk id="24" creationId="{875913E0-6F43-4297-91AC-5EFD34D85F67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4T06:06:27.033" v="6818"/>
          <ac:graphicFrameMkLst>
            <pc:docMk/>
            <pc:sldMk cId="4102764063" sldId="337"/>
            <ac:graphicFrameMk id="25" creationId="{484E6092-FA04-4872-BB10-4C5B5410BB0D}"/>
          </ac:graphicFrameMkLst>
        </pc:graphicFrameChg>
      </pc:sldChg>
      <pc:sldChg chg="addSp delSp modSp add mod">
        <pc:chgData name="Tan, Vincent (Allianz SE Singapore Branch)" userId="bbbac036-7280-4bac-9c0d-a2e2069e1d29" providerId="ADAL" clId="{9705F007-7B00-4062-93A0-BA587561B57D}" dt="2021-07-15T14:10:29.029" v="9027" actId="255"/>
        <pc:sldMkLst>
          <pc:docMk/>
          <pc:sldMk cId="98628367" sldId="338"/>
        </pc:sldMkLst>
        <pc:spChg chg="mod">
          <ac:chgData name="Tan, Vincent (Allianz SE Singapore Branch)" userId="bbbac036-7280-4bac-9c0d-a2e2069e1d29" providerId="ADAL" clId="{9705F007-7B00-4062-93A0-BA587561B57D}" dt="2021-07-15T13:07:03.747" v="8182"/>
          <ac:spMkLst>
            <pc:docMk/>
            <pc:sldMk cId="98628367" sldId="338"/>
            <ac:spMk id="5" creationId="{0B3FFA01-208A-4221-A526-08D7C9637E7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13.740" v="8183"/>
          <ac:spMkLst>
            <pc:docMk/>
            <pc:sldMk cId="98628367" sldId="338"/>
            <ac:spMk id="10" creationId="{C6F7D0FA-5728-4FA5-A0F7-B361A95BC0D3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4" creationId="{A54851EB-B727-4C85-9A33-3439BB2DD6D7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5" creationId="{4C676927-4426-4BA2-8CDE-D2C3097C70DB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6" creationId="{E56E1B94-747C-497A-B3BC-9F4275BB8FC6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7" creationId="{93816B27-1223-4553-83E1-1AF852092E4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8" creationId="{7B3BBF3E-6FD4-4D5C-9A90-2A154D0A5F12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09" creationId="{34565FA2-8ACA-4937-B66A-2BF81EDFC43D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0" creationId="{B262B763-7F7E-4C9D-B74A-25E4BDDD62C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1" creationId="{26166FD8-6774-4F28-80A7-91AF84F8B36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2" creationId="{9AD30A39-8D80-4B51-993F-4C316E5C69D8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3" creationId="{F9F32457-F15A-45B7-938B-0AF4017DC49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4" creationId="{51DD022B-1C2E-40EA-9664-EDD0E361EFF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5" creationId="{4796BF6B-9DE8-452B-ADB2-F8C22F8FC204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6" creationId="{E0D46174-4FCB-490D-9F76-075B7A4ECAE9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7" creationId="{1A986AF0-E5CF-4BDA-847B-51368F782A51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8" creationId="{ECD53E2B-680F-4471-B8DB-9220464D6CB2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19" creationId="{FE0E4CF3-DD2D-45AD-A6FA-CA1390D2A578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20" creationId="{87EC2EA7-857F-4379-A38F-216C485F63D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21" creationId="{F3C4A69F-3FE7-4EB3-805D-7BEBFB562DD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22" creationId="{DB1C28E4-74A4-4DF0-A413-FA26D1DE62E6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23" creationId="{A3D29172-8A20-4E89-B105-B81BA8F905D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47" creationId="{FFB00467-2397-484C-943D-7D529FB035D6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48" creationId="{62D603FD-B24B-4149-98CC-1EE6F57FB357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49" creationId="{EE2F65D0-9A5A-4A9E-A0AD-7BDB170C9153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0" creationId="{C2BFED1F-7E6C-4F6B-A18A-719FB87021BF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1" creationId="{052C37D1-1038-43AF-A44B-FA04C2A80115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2" creationId="{CFBD871B-AD53-4D4E-AE6A-357DCDD32AC3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3" creationId="{E2765811-8DFF-4BFC-8393-64C1246DC13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4" creationId="{57816EAF-3B9A-48B6-9271-86593765A7E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5" creationId="{03C21CEA-AEDA-458D-BD95-1D3F3D8BDA6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6" creationId="{66800370-29AD-47C3-B987-9F0FA58BDFA5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7" creationId="{C346823F-6555-4E1E-9B36-CC5F63A4D9C8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8" creationId="{BAA54069-6600-4BC5-B2E3-B36DA074AEBF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59" creationId="{B99EA8CD-A51C-40D5-9978-D6449323152F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0" creationId="{11BB5AB9-F268-4305-90A7-5169B1A273D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1" creationId="{BF964CC4-7909-4723-A293-9047CE30CD7B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2" creationId="{C03A4483-E2E3-4CBA-8992-A422BF4682C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3" creationId="{72DFB6DD-AADB-4108-A2C3-A4562B634167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4" creationId="{E056BDF7-002C-4D21-8284-E118429933C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5" creationId="{280B73DE-A989-4238-827E-C147F5F98541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6" creationId="{0F712852-D77D-4CF6-B65C-B9A97DFFCDE7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7" creationId="{771346BA-C9B8-45E0-82EA-B0FBB5169A7B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8" creationId="{3721BB64-5399-4230-9551-B7F2CAD2E106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69" creationId="{A61ACC0F-AB10-4DE9-8307-498B08F32F02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0" creationId="{36A7BA25-9E41-4E8D-AD97-93334DBB6FAD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1" creationId="{6C6CC97E-32D7-4C84-B90D-A6377B04B68A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2" creationId="{6FDC8FEC-922B-4236-AF6E-B75B5CF1AA8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3" creationId="{FD784DFE-FFB9-4861-A612-3006433AD50E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4" creationId="{A1AEE42C-1233-41D2-B2BA-8534888CB395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5" creationId="{D1D9674F-9E13-4F7E-8729-8EE60A660FC0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6" creationId="{794AAA0D-5CCD-4F3D-8DBB-C7BE9EB606A2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78" creationId="{248D7011-258C-4A3B-B58D-879CE1BD347C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80" creationId="{FF66B491-E00D-4540-8627-6903016CA586}"/>
          </ac:spMkLst>
        </pc:spChg>
        <pc:spChg chg="mod">
          <ac:chgData name="Tan, Vincent (Allianz SE Singapore Branch)" userId="bbbac036-7280-4bac-9c0d-a2e2069e1d29" providerId="ADAL" clId="{9705F007-7B00-4062-93A0-BA587561B57D}" dt="2021-07-15T13:07:27.760" v="8186"/>
          <ac:spMkLst>
            <pc:docMk/>
            <pc:sldMk cId="98628367" sldId="338"/>
            <ac:spMk id="181" creationId="{6A216E8D-DE0D-4774-AF1D-7E7F4409001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3" creationId="{67A3205D-21CD-4EC2-8703-CE2018641C32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4" creationId="{6C4C9A83-EB6E-41E2-BE9B-3C44ED5DFA2D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5" creationId="{2731324F-01A8-47EC-847E-C820C002CA51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6" creationId="{B9AE5047-12ED-425D-8113-8A5EBDF9F41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7" creationId="{00B8FBAA-93EA-482D-AF9C-60F825619FCB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8" creationId="{80EB2389-A097-45DA-99DF-2CB0B1B4CE6F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89" creationId="{C93A2861-69AD-40EF-A61A-9750E9DC240A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0" creationId="{398E6D0E-FE19-457B-A1D6-3538D2DDB164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1" creationId="{D6AA3A29-9DA0-4ED4-9718-C42BCFD05D2A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2" creationId="{2794CAB9-EEC3-4769-A726-A6ADA0E5BF12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3" creationId="{106B9E2A-FC36-4366-B7F7-A821899A3742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4" creationId="{8325CEFA-2AF3-49B0-A325-5F420CFF522D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5" creationId="{3D0CBDFD-2D38-49C4-891F-9D5E4E878B54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6" creationId="{1AF53DC5-8090-4EAC-8CB8-5171E83BBD85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7" creationId="{557142F7-D2CA-457D-9479-348B71FB219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8" creationId="{B2374634-4B0E-4F14-82AD-DCA7E34764D6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199" creationId="{B39EF23D-2E73-480A-B00C-C342E50F6FA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00" creationId="{4B1817C1-EE24-4C16-A632-D89ED9D2F50B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01" creationId="{C1467337-D6EF-41E9-B5BE-1AB6D3476B8F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02" creationId="{A9CAE6CB-4FE3-49B2-917A-3A94672B7DED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26" creationId="{5502F61E-8F4B-49D7-AD58-8BA75F06A1C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27" creationId="{64D3DB6D-B37C-47C0-8EC8-1E6E5BC25C9C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28" creationId="{DA39B67F-169B-43E8-A8AA-65FA9A726C57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29" creationId="{5FD1E573-3C4A-47DE-A1A0-0A4BDF891280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0" creationId="{927FC6A5-7938-4477-934A-186967617595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1" creationId="{29694657-5E5A-455B-8B77-BAD500D08AC1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2" creationId="{94082BF0-F57B-4234-A26A-8AA002FD445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3" creationId="{36F904E3-9575-4112-BC5F-3135940DB8E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4" creationId="{4F3B2BA1-E6ED-4146-9468-287EB3943611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5" creationId="{5B3B9AA3-94C0-4D61-80B9-8544D8124090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6" creationId="{2C65879C-484D-49BB-A6B6-9CA45D3CA2A0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7" creationId="{09EBF62D-E7FE-4885-AF9D-4A87D1D94A9F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8" creationId="{CDFC1D65-AE2A-432C-9CE5-51EEC58A4ECE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39" creationId="{48277CB6-7B71-4A68-B582-46311B0AB1B2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0" creationId="{48FBB07F-B903-4074-BCC9-074244F2734E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1" creationId="{6B842E76-23E7-4F2D-9A22-13B6AF220A0F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2" creationId="{29FC205A-FD30-4607-BD8C-48B1F9305D2D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3" creationId="{5884D3E9-3AE4-4086-8309-5E66D91A64BA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4" creationId="{2E7BC7FB-7F62-4AC4-9E4B-EF426C1D8DB6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5" creationId="{E789419E-7998-4110-B562-BEC5E563F271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6" creationId="{69E9C670-97CE-498A-872B-63115BEB831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7" creationId="{4AFDD2FC-E526-463D-A7DA-3E5ED635EA54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8" creationId="{1677986B-4569-4850-BCED-039C8C58378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49" creationId="{08135BDD-99C1-4061-A5B0-956A9870561C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0" creationId="{860B9318-4EFA-47A5-9E0F-1C1FA323B3B1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1" creationId="{C58DBD94-8CD1-478B-B4BB-F45B0D787458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2" creationId="{B5BBDD18-34D8-41BB-86E6-132ACAF9B21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3" creationId="{F7808A39-33D7-4E39-9D6D-5649ECAD63D5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4" creationId="{BD20D877-6969-49CD-AAEE-26BC5FDEFFD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5" creationId="{BD782185-8AC7-4C04-9267-C8345E11C2A5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7" creationId="{9526FF5E-E590-42D6-A56E-BE1318E9CA43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59" creationId="{53F8EC04-676A-46CC-98C0-11863FD832DD}"/>
          </ac:spMkLst>
        </pc:spChg>
        <pc:spChg chg="mod">
          <ac:chgData name="Tan, Vincent (Allianz SE Singapore Branch)" userId="bbbac036-7280-4bac-9c0d-a2e2069e1d29" providerId="ADAL" clId="{9705F007-7B00-4062-93A0-BA587561B57D}" dt="2021-07-15T13:18:53.190" v="8359"/>
          <ac:spMkLst>
            <pc:docMk/>
            <pc:sldMk cId="98628367" sldId="338"/>
            <ac:spMk id="260" creationId="{CC05B845-6D45-474F-86A5-B9D8EA78FB54}"/>
          </ac:spMkLst>
        </pc:spChg>
        <pc:grpChg chg="del">
          <ac:chgData name="Tan, Vincent (Allianz SE Singapore Branch)" userId="bbbac036-7280-4bac-9c0d-a2e2069e1d29" providerId="ADAL" clId="{9705F007-7B00-4062-93A0-BA587561B57D}" dt="2021-07-15T13:07:27.392" v="8185" actId="478"/>
          <ac:grpSpMkLst>
            <pc:docMk/>
            <pc:sldMk cId="98628367" sldId="338"/>
            <ac:grpSpMk id="24" creationId="{48C0DFB3-3050-4422-AF52-9C9B9C9144F4}"/>
          </ac:grpSpMkLst>
        </pc:grpChg>
        <pc:grpChg chg="add del mod">
          <ac:chgData name="Tan, Vincent (Allianz SE Singapore Branch)" userId="bbbac036-7280-4bac-9c0d-a2e2069e1d29" providerId="ADAL" clId="{9705F007-7B00-4062-93A0-BA587561B57D}" dt="2021-07-15T13:18:52.631" v="8358" actId="478"/>
          <ac:grpSpMkLst>
            <pc:docMk/>
            <pc:sldMk cId="98628367" sldId="338"/>
            <ac:grpSpMk id="103" creationId="{B2D712F7-5386-4393-9211-38B10E30A812}"/>
          </ac:grpSpMkLst>
        </pc:grpChg>
        <pc:grpChg chg="mod">
          <ac:chgData name="Tan, Vincent (Allianz SE Singapore Branch)" userId="bbbac036-7280-4bac-9c0d-a2e2069e1d29" providerId="ADAL" clId="{9705F007-7B00-4062-93A0-BA587561B57D}" dt="2021-07-15T13:07:27.760" v="8186"/>
          <ac:grpSpMkLst>
            <pc:docMk/>
            <pc:sldMk cId="98628367" sldId="338"/>
            <ac:grpSpMk id="177" creationId="{6C2551B7-FD87-4691-B622-10D9252372B6}"/>
          </ac:grpSpMkLst>
        </pc:grpChg>
        <pc:grpChg chg="add mod">
          <ac:chgData name="Tan, Vincent (Allianz SE Singapore Branch)" userId="bbbac036-7280-4bac-9c0d-a2e2069e1d29" providerId="ADAL" clId="{9705F007-7B00-4062-93A0-BA587561B57D}" dt="2021-07-15T13:23:11.151" v="8611" actId="14100"/>
          <ac:grpSpMkLst>
            <pc:docMk/>
            <pc:sldMk cId="98628367" sldId="338"/>
            <ac:grpSpMk id="182" creationId="{67C48F63-BC70-4BED-90E6-C1767E561F88}"/>
          </ac:grpSpMkLst>
        </pc:grpChg>
        <pc:grpChg chg="mod">
          <ac:chgData name="Tan, Vincent (Allianz SE Singapore Branch)" userId="bbbac036-7280-4bac-9c0d-a2e2069e1d29" providerId="ADAL" clId="{9705F007-7B00-4062-93A0-BA587561B57D}" dt="2021-07-15T13:18:53.190" v="8359"/>
          <ac:grpSpMkLst>
            <pc:docMk/>
            <pc:sldMk cId="98628367" sldId="338"/>
            <ac:grpSpMk id="256" creationId="{6BCDF63A-C5B6-411C-BC0D-7D0BC7F39A02}"/>
          </ac:grpSpMkLst>
        </pc:grpChg>
        <pc:graphicFrameChg chg="mod modGraphic">
          <ac:chgData name="Tan, Vincent (Allianz SE Singapore Branch)" userId="bbbac036-7280-4bac-9c0d-a2e2069e1d29" providerId="ADAL" clId="{9705F007-7B00-4062-93A0-BA587561B57D}" dt="2021-07-15T14:10:29.029" v="9027" actId="255"/>
          <ac:graphicFrameMkLst>
            <pc:docMk/>
            <pc:sldMk cId="98628367" sldId="338"/>
            <ac:graphicFrameMk id="264" creationId="{A86C8DDB-B295-411C-80F9-F1EFE9EC4FC1}"/>
          </ac:graphicFrameMkLst>
        </pc:graphicFrame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45" creationId="{23F5591D-DA9A-462E-8FBA-5E40ABA6FD2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46" creationId="{40FC80BC-317C-4B7F-9D24-F92B0B9F0B0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47" creationId="{6CA19025-3B0D-4B12-9330-A3AAA4ABB113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48" creationId="{A537149B-F6A9-41E8-B3A6-FD442180441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49" creationId="{1F879120-A0B2-4BA1-A5D8-3E0D4A1A3F5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0" creationId="{DE6401E1-395A-45C2-B5A5-45C50E1319B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1" creationId="{64BB0574-D68A-4F17-BAE8-77A2B17128C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2" creationId="{3BBC3B89-C03D-4172-B783-295B928427D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3" creationId="{D3F56918-A897-4C7C-9102-8D65FA05AB9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4" creationId="{62D5A5AB-CB84-4660-A492-B960958A0B8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5" creationId="{397D1E85-BD56-4C9E-A908-4358167EE93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6" creationId="{384AF678-12F4-4E70-824C-9ED0B2E4C9D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7" creationId="{76D0018F-107E-442F-9743-B2A92D216E6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8" creationId="{E63C8BEF-1ED1-4C39-A074-BDC273D6FD1E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59" creationId="{23C7136E-0FA8-44B9-8764-30C200BC6CD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0" creationId="{7541EA4F-A17B-4742-A636-5E618240FBD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1" creationId="{7AFDAC71-8FBB-427E-9F89-D61A4601A6A5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2" creationId="{EF1072C9-633F-4E64-A579-08F9E807BB9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3" creationId="{27EBA09E-E811-410B-818D-F44A7F7C78A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4" creationId="{C8C8C5F3-B278-47D0-8C0A-09F5FE2C1E4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5" creationId="{85FED5C6-E5C7-42BE-9895-907C9CDC440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6" creationId="{C20E2F8C-6D24-4EE4-BD42-96340FADEEC3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392" v="8185" actId="478"/>
          <ac:cxnSpMkLst>
            <pc:docMk/>
            <pc:sldMk cId="98628367" sldId="338"/>
            <ac:cxnSpMk id="67" creationId="{DE54353D-CC98-4C58-B2CA-D03A0FB61E03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4" creationId="{75955377-5606-46AD-B3E7-074256E6DFF1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5" creationId="{1E829D4A-638B-45BC-BF72-CD7294184D5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6" creationId="{2F58A0B9-EC6F-4214-951C-7A342E6532C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7" creationId="{EE08EE11-49E6-4B17-8787-1E06DC79BCDE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8" creationId="{19CED2D0-C69B-4AB2-9717-3D67638A870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29" creationId="{98414F69-D82C-4D91-ABAD-B01151E4181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0" creationId="{50009DFE-45D0-413E-B7E9-60596A4F30F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1" creationId="{47E28439-A4AB-46C0-9CEE-96C956853FC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2" creationId="{FB8EC0D8-0D7E-4AC9-AA41-D5DB26B72971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3" creationId="{AB0C75B4-54DE-4B41-AF13-950DD5CEE1FE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4" creationId="{29F39B88-38B4-4E27-B3E8-62FE4D717F5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5" creationId="{4D0B5E9C-7E76-4433-B227-67AB2CE2411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6" creationId="{06C6C63F-7634-496C-BF15-46884E36AD65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7" creationId="{8A132D5E-C8BE-427B-9236-77FB6731007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8" creationId="{0D321A03-D846-43F2-9984-EA529ABC4EE8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39" creationId="{533A026F-A705-42C3-9A72-3D9DBF13074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0" creationId="{17C0406F-99FC-4F34-A6D0-4F3F9EC852B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1" creationId="{770F4E16-2806-4EF6-9FD8-BEC133077F0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2" creationId="{AEFDC1DB-30C4-453D-B5C5-07B9F2BC474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3" creationId="{D32B33D6-BFA7-472D-8D38-94B0DE49B6A3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4" creationId="{01C7748C-6857-4077-BFFC-7A8713B8B9D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5" creationId="{2FD554FF-FD17-4DF4-8126-40976DC52EE2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2.631" v="8358" actId="478"/>
          <ac:cxnSpMkLst>
            <pc:docMk/>
            <pc:sldMk cId="98628367" sldId="338"/>
            <ac:cxnSpMk id="146" creationId="{418AC7B2-DB14-497F-AE6C-C36D4845A54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07:27.760" v="8186"/>
          <ac:cxnSpMkLst>
            <pc:docMk/>
            <pc:sldMk cId="98628367" sldId="338"/>
            <ac:cxnSpMk id="179" creationId="{09AB65E1-A268-4C46-A231-D2F3B17600F4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3" creationId="{F7CA262E-6D4F-4E67-84B8-DE3B8964517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4" creationId="{B7D58A04-D1C0-4319-B457-DB69202519C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5" creationId="{B4F680A3-AB65-414A-80C8-140232B331E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6" creationId="{9C9966F5-8E90-4791-83E7-D8416A2ECBB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7" creationId="{1BEF1082-FDDB-4EB8-BD05-62C07E802D7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8" creationId="{C1AB049C-527A-4424-BDE2-664D6FEB7E9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09" creationId="{412274D4-A3C6-4BCE-BCFC-8DE2DE629CD6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0" creationId="{01DBE2BC-E1B7-4C52-BD4F-1A83702208E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1" creationId="{96318D54-23FC-4D4A-A686-24D0C0B6243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2" creationId="{D517EF8A-2E0D-4D4E-A24F-E300C589329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3" creationId="{ABD2E47A-5DB3-40AC-BBFE-B0B4964C649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4" creationId="{AC802773-55C8-4490-BE23-5D86AB66FC0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5" creationId="{DB161E18-E7CD-4BC3-BFA3-D419B334FABB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6" creationId="{7DF4E065-9A1D-46CC-A9D3-2F3FB32F491A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7" creationId="{BBE5A6B8-8E03-427E-91A1-5A38FC242B07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8" creationId="{BD42B920-E98E-488F-A02B-07685B94206D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19" creationId="{A4F34CE2-314A-4C8E-B67B-BE584423D33E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0" creationId="{9854A5C1-8BEC-4E80-AF86-1180222CE24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1" creationId="{7C68CC2E-F943-4360-BB1C-EC4A9C705CBF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2" creationId="{A3B254C3-E020-4CF2-88C9-2D1D141BB2F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3" creationId="{70525E02-FBC1-4C21-A472-9A3E836B4F59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4" creationId="{FFEF3269-8B07-48B5-86CD-1B6E34747EAC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25" creationId="{E9156F45-A7A2-495D-89AE-0F250FA4BA30}"/>
          </ac:cxnSpMkLst>
        </pc:cxnChg>
        <pc:cxnChg chg="mod">
          <ac:chgData name="Tan, Vincent (Allianz SE Singapore Branch)" userId="bbbac036-7280-4bac-9c0d-a2e2069e1d29" providerId="ADAL" clId="{9705F007-7B00-4062-93A0-BA587561B57D}" dt="2021-07-15T13:18:53.190" v="8359"/>
          <ac:cxnSpMkLst>
            <pc:docMk/>
            <pc:sldMk cId="98628367" sldId="338"/>
            <ac:cxnSpMk id="258" creationId="{7AD07E5F-9A25-41AE-BEFA-AA0B6C843BB7}"/>
          </ac:cxnSpMkLst>
        </pc:cxnChg>
      </pc:sldChg>
      <pc:sldChg chg="addSp delSp modSp new del mod modClrScheme chgLayout">
        <pc:chgData name="Tan, Vincent (Allianz SE Singapore Branch)" userId="bbbac036-7280-4bac-9c0d-a2e2069e1d29" providerId="ADAL" clId="{9705F007-7B00-4062-93A0-BA587561B57D}" dt="2021-07-15T07:22:01.469" v="7552" actId="47"/>
        <pc:sldMkLst>
          <pc:docMk/>
          <pc:sldMk cId="807813455" sldId="338"/>
        </pc:sldMkLst>
        <pc:spChg chg="del">
          <ac:chgData name="Tan, Vincent (Allianz SE Singapore Branch)" userId="bbbac036-7280-4bac-9c0d-a2e2069e1d29" providerId="ADAL" clId="{9705F007-7B00-4062-93A0-BA587561B57D}" dt="2021-07-15T07:21:48.447" v="7544"/>
          <ac:spMkLst>
            <pc:docMk/>
            <pc:sldMk cId="807813455" sldId="338"/>
            <ac:spMk id="2" creationId="{5D1F5377-7720-42C7-923E-D99C4CA73D3E}"/>
          </ac:spMkLst>
        </pc:spChg>
        <pc:spChg chg="del">
          <ac:chgData name="Tan, Vincent (Allianz SE Singapore Branch)" userId="bbbac036-7280-4bac-9c0d-a2e2069e1d29" providerId="ADAL" clId="{9705F007-7B00-4062-93A0-BA587561B57D}" dt="2021-07-15T07:21:48.447" v="7544"/>
          <ac:spMkLst>
            <pc:docMk/>
            <pc:sldMk cId="807813455" sldId="338"/>
            <ac:spMk id="3" creationId="{BA9DCB56-9414-4419-A0D4-7F80DA3E4F5F}"/>
          </ac:spMkLst>
        </pc:spChg>
        <pc:spChg chg="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4" creationId="{0226262B-8A4C-4077-834B-223A89B20DCF}"/>
          </ac:spMkLst>
        </pc:spChg>
        <pc:spChg chg="mod or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5" creationId="{4F121BAB-8C72-4CEA-B5CF-89D775331949}"/>
          </ac:spMkLst>
        </pc:spChg>
        <pc:spChg chg="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6" creationId="{3711CF23-D51D-4C45-A532-23E732DBEA6B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7" creationId="{5A422F7F-F534-44D4-97B7-0213F74D4F2E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8" creationId="{94B15D0D-4C23-4AD5-AF34-25CB7B37AAC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9" creationId="{32E16997-1E80-4A3B-8F75-8658A4F5C273}"/>
          </ac:spMkLst>
        </pc:spChg>
        <pc:spChg chg="add 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11" creationId="{AEFB3E0D-7C96-4B3C-8F8B-CCB3DD6ABB27}"/>
          </ac:spMkLst>
        </pc:spChg>
        <pc:spChg chg="add mod">
          <ac:chgData name="Tan, Vincent (Allianz SE Singapore Branch)" userId="bbbac036-7280-4bac-9c0d-a2e2069e1d29" providerId="ADAL" clId="{9705F007-7B00-4062-93A0-BA587561B57D}" dt="2021-07-15T07:21:57.030" v="7551" actId="26606"/>
          <ac:spMkLst>
            <pc:docMk/>
            <pc:sldMk cId="807813455" sldId="338"/>
            <ac:spMk id="12" creationId="{2A991B81-1965-4ADC-BC29-21F9099C5B09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5.821" v="7546" actId="26606"/>
          <ac:spMkLst>
            <pc:docMk/>
            <pc:sldMk cId="807813455" sldId="338"/>
            <ac:spMk id="14" creationId="{FAF94B16-B354-464E-96A2-071C6C9A844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5.821" v="7546" actId="26606"/>
          <ac:spMkLst>
            <pc:docMk/>
            <pc:sldMk cId="807813455" sldId="338"/>
            <ac:spMk id="16" creationId="{346BC7AB-D199-4988-8A94-8F4ABA0A5BE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5.821" v="7546" actId="26606"/>
          <ac:spMkLst>
            <pc:docMk/>
            <pc:sldMk cId="807813455" sldId="338"/>
            <ac:spMk id="18" creationId="{960F499C-5CAA-43B0-BCD6-5DFF13417C2F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5.821" v="7546" actId="26606"/>
          <ac:spMkLst>
            <pc:docMk/>
            <pc:sldMk cId="807813455" sldId="338"/>
            <ac:spMk id="20" creationId="{E2289B2E-6C00-45AB-AD7F-8CF2EE01CF40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5T07:21:56.260" v="7548" actId="26606"/>
          <ac:spMkLst>
            <pc:docMk/>
            <pc:sldMk cId="807813455" sldId="338"/>
            <ac:spMk id="22" creationId="{9A71DC7F-D239-4330-957A-5147BD076CE3}"/>
          </ac:spMkLst>
        </pc:spChg>
      </pc:sldChg>
      <pc:sldChg chg="modSp add del mod">
        <pc:chgData name="Tan, Vincent (Allianz SE Singapore Branch)" userId="bbbac036-7280-4bac-9c0d-a2e2069e1d29" providerId="ADAL" clId="{9705F007-7B00-4062-93A0-BA587561B57D}" dt="2021-07-14T07:57:22.141" v="7033" actId="47"/>
        <pc:sldMkLst>
          <pc:docMk/>
          <pc:sldMk cId="1447686921" sldId="338"/>
        </pc:sldMkLst>
        <pc:graphicFrameChg chg="mod modGraphic">
          <ac:chgData name="Tan, Vincent (Allianz SE Singapore Branch)" userId="bbbac036-7280-4bac-9c0d-a2e2069e1d29" providerId="ADAL" clId="{9705F007-7B00-4062-93A0-BA587561B57D}" dt="2021-07-14T07:57:00.905" v="7032" actId="14100"/>
          <ac:graphicFrameMkLst>
            <pc:docMk/>
            <pc:sldMk cId="1447686921" sldId="338"/>
            <ac:graphicFrameMk id="21" creationId="{3FF5303E-B672-4C91-88FA-BE34D4EE5191}"/>
          </ac:graphicFrameMkLst>
        </pc:graphicFrameChg>
      </pc:sldChg>
      <pc:sldChg chg="new del">
        <pc:chgData name="Tan, Vincent (Allianz SE Singapore Branch)" userId="bbbac036-7280-4bac-9c0d-a2e2069e1d29" providerId="ADAL" clId="{9705F007-7B00-4062-93A0-BA587561B57D}" dt="2021-07-15T07:21:21.941" v="7540" actId="47"/>
        <pc:sldMkLst>
          <pc:docMk/>
          <pc:sldMk cId="1547439259" sldId="338"/>
        </pc:sldMkLst>
      </pc:sldChg>
      <pc:sldChg chg="add del">
        <pc:chgData name="Tan, Vincent (Allianz SE Singapore Branch)" userId="bbbac036-7280-4bac-9c0d-a2e2069e1d29" providerId="ADAL" clId="{9705F007-7B00-4062-93A0-BA587561B57D}" dt="2021-07-14T06:04:14.501" v="6805" actId="47"/>
        <pc:sldMkLst>
          <pc:docMk/>
          <pc:sldMk cId="2567586471" sldId="338"/>
        </pc:sldMkLst>
      </pc:sldChg>
      <pc:sldChg chg="new add del">
        <pc:chgData name="Tan, Vincent (Allianz SE Singapore Branch)" userId="bbbac036-7280-4bac-9c0d-a2e2069e1d29" providerId="ADAL" clId="{9705F007-7B00-4062-93A0-BA587561B57D}" dt="2021-07-15T12:55:23.437" v="7708" actId="680"/>
        <pc:sldMkLst>
          <pc:docMk/>
          <pc:sldMk cId="3219293840" sldId="338"/>
        </pc:sldMkLst>
      </pc:sldChg>
      <pc:sldChg chg="modSp add del mod ord">
        <pc:chgData name="Tan, Vincent (Allianz SE Singapore Branch)" userId="bbbac036-7280-4bac-9c0d-a2e2069e1d29" providerId="ADAL" clId="{9705F007-7B00-4062-93A0-BA587561B57D}" dt="2021-07-14T06:10:11.044" v="6841" actId="47"/>
        <pc:sldMkLst>
          <pc:docMk/>
          <pc:sldMk cId="967033281" sldId="339"/>
        </pc:sldMkLst>
        <pc:spChg chg="mod">
          <ac:chgData name="Tan, Vincent (Allianz SE Singapore Branch)" userId="bbbac036-7280-4bac-9c0d-a2e2069e1d29" providerId="ADAL" clId="{9705F007-7B00-4062-93A0-BA587561B57D}" dt="2021-07-14T06:02:13.986" v="6731" actId="20577"/>
          <ac:spMkLst>
            <pc:docMk/>
            <pc:sldMk cId="967033281" sldId="339"/>
            <ac:spMk id="2" creationId="{D94260D1-C400-40B5-BF78-325FA4720398}"/>
          </ac:spMkLst>
        </pc:spChg>
      </pc:sldChg>
      <pc:sldChg chg="addSp delSp modSp add mod">
        <pc:chgData name="Tan, Vincent (Allianz SE Singapore Branch)" userId="bbbac036-7280-4bac-9c0d-a2e2069e1d29" providerId="ADAL" clId="{9705F007-7B00-4062-93A0-BA587561B57D}" dt="2021-07-15T14:11:05.825" v="9031" actId="207"/>
        <pc:sldMkLst>
          <pc:docMk/>
          <pc:sldMk cId="2916114309" sldId="339"/>
        </pc:sldMkLst>
        <pc:spChg chg="mod">
          <ac:chgData name="Tan, Vincent (Allianz SE Singapore Branch)" userId="bbbac036-7280-4bac-9c0d-a2e2069e1d29" providerId="ADAL" clId="{9705F007-7B00-4062-93A0-BA587561B57D}" dt="2021-07-15T13:30:53.974" v="8655"/>
          <ac:spMkLst>
            <pc:docMk/>
            <pc:sldMk cId="2916114309" sldId="339"/>
            <ac:spMk id="29" creationId="{C3D4C3F4-574E-452E-A420-BAAF269E0EEF}"/>
          </ac:spMkLst>
        </pc:spChg>
        <pc:spChg chg="mod">
          <ac:chgData name="Tan, Vincent (Allianz SE Singapore Branch)" userId="bbbac036-7280-4bac-9c0d-a2e2069e1d29" providerId="ADAL" clId="{9705F007-7B00-4062-93A0-BA587561B57D}" dt="2021-07-15T13:31:11.623" v="8660"/>
          <ac:spMkLst>
            <pc:docMk/>
            <pc:sldMk cId="2916114309" sldId="339"/>
            <ac:spMk id="30" creationId="{3C0D5F2C-5910-41CF-8B92-CC90494A331D}"/>
          </ac:spMkLst>
        </pc:spChg>
        <pc:graphicFrameChg chg="mod modGraphic">
          <ac:chgData name="Tan, Vincent (Allianz SE Singapore Branch)" userId="bbbac036-7280-4bac-9c0d-a2e2069e1d29" providerId="ADAL" clId="{9705F007-7B00-4062-93A0-BA587561B57D}" dt="2021-07-15T14:11:05.825" v="9031" actId="207"/>
          <ac:graphicFrameMkLst>
            <pc:docMk/>
            <pc:sldMk cId="2916114309" sldId="339"/>
            <ac:graphicFrameMk id="20" creationId="{49D53C52-A63D-4072-8862-98D5841FBB35}"/>
          </ac:graphicFrameMkLst>
        </pc:graphicFrameChg>
        <pc:picChg chg="add mod ord">
          <ac:chgData name="Tan, Vincent (Allianz SE Singapore Branch)" userId="bbbac036-7280-4bac-9c0d-a2e2069e1d29" providerId="ADAL" clId="{9705F007-7B00-4062-93A0-BA587561B57D}" dt="2021-07-15T13:35:42.792" v="8701" actId="14100"/>
          <ac:picMkLst>
            <pc:docMk/>
            <pc:sldMk cId="2916114309" sldId="339"/>
            <ac:picMk id="2" creationId="{AD3FAACF-EFFD-4072-83B3-881935C5BEA5}"/>
          </ac:picMkLst>
        </pc:picChg>
        <pc:picChg chg="del">
          <ac:chgData name="Tan, Vincent (Allianz SE Singapore Branch)" userId="bbbac036-7280-4bac-9c0d-a2e2069e1d29" providerId="ADAL" clId="{9705F007-7B00-4062-93A0-BA587561B57D}" dt="2021-07-15T13:33:22.812" v="8681" actId="478"/>
          <ac:picMkLst>
            <pc:docMk/>
            <pc:sldMk cId="2916114309" sldId="339"/>
            <ac:picMk id="7" creationId="{3E7C16CF-867D-42DB-B6F4-17470E22E51A}"/>
          </ac:picMkLst>
        </pc:picChg>
      </pc:sldChg>
      <pc:sldChg chg="modSp add del mod ord">
        <pc:chgData name="Tan, Vincent (Allianz SE Singapore Branch)" userId="bbbac036-7280-4bac-9c0d-a2e2069e1d29" providerId="ADAL" clId="{9705F007-7B00-4062-93A0-BA587561B57D}" dt="2021-07-14T07:30:57.336" v="6926" actId="47"/>
        <pc:sldMkLst>
          <pc:docMk/>
          <pc:sldMk cId="215497076" sldId="340"/>
        </pc:sldMkLst>
        <pc:graphicFrameChg chg="mod modGraphic">
          <ac:chgData name="Tan, Vincent (Allianz SE Singapore Branch)" userId="bbbac036-7280-4bac-9c0d-a2e2069e1d29" providerId="ADAL" clId="{9705F007-7B00-4062-93A0-BA587561B57D}" dt="2021-07-14T06:06:48.639" v="6821" actId="14100"/>
          <ac:graphicFrameMkLst>
            <pc:docMk/>
            <pc:sldMk cId="215497076" sldId="340"/>
            <ac:graphicFrameMk id="25" creationId="{484E6092-FA04-4872-BB10-4C5B5410BB0D}"/>
          </ac:graphicFrameMkLst>
        </pc:graphicFrameChg>
      </pc:sldChg>
      <pc:sldChg chg="addSp delSp modSp add mod">
        <pc:chgData name="Tan, Vincent (Allianz SE Singapore Branch)" userId="bbbac036-7280-4bac-9c0d-a2e2069e1d29" providerId="ADAL" clId="{9705F007-7B00-4062-93A0-BA587561B57D}" dt="2021-07-16T07:48:13.986" v="9847" actId="1038"/>
        <pc:sldMkLst>
          <pc:docMk/>
          <pc:sldMk cId="1258948974" sldId="340"/>
        </pc:sldMkLst>
        <pc:spChg chg="add del mod">
          <ac:chgData name="Tan, Vincent (Allianz SE Singapore Branch)" userId="bbbac036-7280-4bac-9c0d-a2e2069e1d29" providerId="ADAL" clId="{9705F007-7B00-4062-93A0-BA587561B57D}" dt="2021-07-15T13:37:05.978" v="8718"/>
          <ac:spMkLst>
            <pc:docMk/>
            <pc:sldMk cId="1258948974" sldId="340"/>
            <ac:spMk id="2" creationId="{EE068FAE-B8EC-494C-9721-4A5E015A92D1}"/>
          </ac:spMkLst>
        </pc:spChg>
        <pc:spChg chg="add del mod">
          <ac:chgData name="Tan, Vincent (Allianz SE Singapore Branch)" userId="bbbac036-7280-4bac-9c0d-a2e2069e1d29" providerId="ADAL" clId="{9705F007-7B00-4062-93A0-BA587561B57D}" dt="2021-07-16T07:45:37.047" v="9816" actId="478"/>
          <ac:spMkLst>
            <pc:docMk/>
            <pc:sldMk cId="1258948974" sldId="340"/>
            <ac:spMk id="19" creationId="{F384EBFD-4E6C-4686-9C2E-C9242FB01944}"/>
          </ac:spMkLst>
        </pc:spChg>
        <pc:spChg chg="mod">
          <ac:chgData name="Tan, Vincent (Allianz SE Singapore Branch)" userId="bbbac036-7280-4bac-9c0d-a2e2069e1d29" providerId="ADAL" clId="{9705F007-7B00-4062-93A0-BA587561B57D}" dt="2021-07-15T13:36:51.969" v="8711"/>
          <ac:spMkLst>
            <pc:docMk/>
            <pc:sldMk cId="1258948974" sldId="340"/>
            <ac:spMk id="29" creationId="{C3D4C3F4-574E-452E-A420-BAAF269E0EEF}"/>
          </ac:spMkLst>
        </pc:spChg>
        <pc:spChg chg="mod">
          <ac:chgData name="Tan, Vincent (Allianz SE Singapore Branch)" userId="bbbac036-7280-4bac-9c0d-a2e2069e1d29" providerId="ADAL" clId="{9705F007-7B00-4062-93A0-BA587561B57D}" dt="2021-07-15T13:36:55.290" v="8715" actId="20577"/>
          <ac:spMkLst>
            <pc:docMk/>
            <pc:sldMk cId="1258948974" sldId="340"/>
            <ac:spMk id="30" creationId="{3C0D5F2C-5910-41CF-8B92-CC90494A331D}"/>
          </ac:spMkLst>
        </pc:spChg>
        <pc:graphicFrameChg chg="mod modGraphic">
          <ac:chgData name="Tan, Vincent (Allianz SE Singapore Branch)" userId="bbbac036-7280-4bac-9c0d-a2e2069e1d29" providerId="ADAL" clId="{9705F007-7B00-4062-93A0-BA587561B57D}" dt="2021-07-16T07:48:13.986" v="9847" actId="1038"/>
          <ac:graphicFrameMkLst>
            <pc:docMk/>
            <pc:sldMk cId="1258948974" sldId="340"/>
            <ac:graphicFrameMk id="20" creationId="{49D53C52-A63D-4072-8862-98D5841FBB35}"/>
          </ac:graphicFrameMkLst>
        </pc:graphicFrameChg>
        <pc:picChg chg="del">
          <ac:chgData name="Tan, Vincent (Allianz SE Singapore Branch)" userId="bbbac036-7280-4bac-9c0d-a2e2069e1d29" providerId="ADAL" clId="{9705F007-7B00-4062-93A0-BA587561B57D}" dt="2021-07-15T13:37:04.129" v="8716" actId="478"/>
          <ac:picMkLst>
            <pc:docMk/>
            <pc:sldMk cId="1258948974" sldId="340"/>
            <ac:picMk id="7" creationId="{3E7C16CF-867D-42DB-B6F4-17470E22E51A}"/>
          </ac:picMkLst>
        </pc:picChg>
        <pc:picChg chg="add mod ord">
          <ac:chgData name="Tan, Vincent (Allianz SE Singapore Branch)" userId="bbbac036-7280-4bac-9c0d-a2e2069e1d29" providerId="ADAL" clId="{9705F007-7B00-4062-93A0-BA587561B57D}" dt="2021-07-16T07:46:00.951" v="9819" actId="14100"/>
          <ac:picMkLst>
            <pc:docMk/>
            <pc:sldMk cId="1258948974" sldId="340"/>
            <ac:picMk id="21" creationId="{807F0287-A516-47E6-BBE9-D67D2298B7F9}"/>
          </ac:picMkLst>
        </pc:picChg>
        <pc:cxnChg chg="add del">
          <ac:chgData name="Tan, Vincent (Allianz SE Singapore Branch)" userId="bbbac036-7280-4bac-9c0d-a2e2069e1d29" providerId="ADAL" clId="{9705F007-7B00-4062-93A0-BA587561B57D}" dt="2021-07-16T07:47:36.681" v="9836" actId="478"/>
          <ac:cxnSpMkLst>
            <pc:docMk/>
            <pc:sldMk cId="1258948974" sldId="340"/>
            <ac:cxnSpMk id="3" creationId="{D4F77428-1803-49F9-B9A9-E067AA58D72A}"/>
          </ac:cxnSpMkLst>
        </pc:cxnChg>
      </pc:sldChg>
      <pc:sldChg chg="add del">
        <pc:chgData name="Tan, Vincent (Allianz SE Singapore Branch)" userId="bbbac036-7280-4bac-9c0d-a2e2069e1d29" providerId="ADAL" clId="{9705F007-7B00-4062-93A0-BA587561B57D}" dt="2021-07-15T13:36:24.581" v="8705"/>
        <pc:sldMkLst>
          <pc:docMk/>
          <pc:sldMk cId="1403934293" sldId="340"/>
        </pc:sldMkLst>
      </pc:sldChg>
      <pc:sldChg chg="add del">
        <pc:chgData name="Tan, Vincent (Allianz SE Singapore Branch)" userId="bbbac036-7280-4bac-9c0d-a2e2069e1d29" providerId="ADAL" clId="{9705F007-7B00-4062-93A0-BA587561B57D}" dt="2021-07-14T06:04:09.097" v="6804"/>
        <pc:sldMkLst>
          <pc:docMk/>
          <pc:sldMk cId="2471221684" sldId="340"/>
        </pc:sldMkLst>
      </pc:sldChg>
      <pc:sldChg chg="modSp add del mod">
        <pc:chgData name="Tan, Vincent (Allianz SE Singapore Branch)" userId="bbbac036-7280-4bac-9c0d-a2e2069e1d29" providerId="ADAL" clId="{9705F007-7B00-4062-93A0-BA587561B57D}" dt="2021-07-14T07:30:57.336" v="6926" actId="47"/>
        <pc:sldMkLst>
          <pc:docMk/>
          <pc:sldMk cId="1781282042" sldId="341"/>
        </pc:sldMkLst>
        <pc:graphicFrameChg chg="mod modGraphic">
          <ac:chgData name="Tan, Vincent (Allianz SE Singapore Branch)" userId="bbbac036-7280-4bac-9c0d-a2e2069e1d29" providerId="ADAL" clId="{9705F007-7B00-4062-93A0-BA587561B57D}" dt="2021-07-14T06:07:21.234" v="6826" actId="2165"/>
          <ac:graphicFrameMkLst>
            <pc:docMk/>
            <pc:sldMk cId="1781282042" sldId="341"/>
            <ac:graphicFrameMk id="25" creationId="{484E6092-FA04-4872-BB10-4C5B5410BB0D}"/>
          </ac:graphicFrameMkLst>
        </pc:graphicFrameChg>
      </pc:sldChg>
      <pc:sldChg chg="addSp delSp modSp add mod">
        <pc:chgData name="Tan, Vincent (Allianz SE Singapore Branch)" userId="bbbac036-7280-4bac-9c0d-a2e2069e1d29" providerId="ADAL" clId="{9705F007-7B00-4062-93A0-BA587561B57D}" dt="2021-07-16T08:07:29.797" v="10098" actId="207"/>
        <pc:sldMkLst>
          <pc:docMk/>
          <pc:sldMk cId="2213405035" sldId="341"/>
        </pc:sldMkLst>
        <pc:spChg chg="add del mod">
          <ac:chgData name="Tan, Vincent (Allianz SE Singapore Branch)" userId="bbbac036-7280-4bac-9c0d-a2e2069e1d29" providerId="ADAL" clId="{9705F007-7B00-4062-93A0-BA587561B57D}" dt="2021-07-16T07:13:44.531" v="9700" actId="478"/>
          <ac:spMkLst>
            <pc:docMk/>
            <pc:sldMk cId="2213405035" sldId="341"/>
            <ac:spMk id="18" creationId="{10684872-C799-4B35-A3F9-366E72F1F8C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4:34:34.010" v="9367" actId="114"/>
          <ac:spMkLst>
            <pc:docMk/>
            <pc:sldMk cId="2213405035" sldId="341"/>
            <ac:spMk id="19" creationId="{88C498CF-4825-4A8F-94C3-8E4050970ECE}"/>
          </ac:spMkLst>
        </pc:spChg>
        <pc:spChg chg="mod">
          <ac:chgData name="Tan, Vincent (Allianz SE Singapore Branch)" userId="bbbac036-7280-4bac-9c0d-a2e2069e1d29" providerId="ADAL" clId="{9705F007-7B00-4062-93A0-BA587561B57D}" dt="2021-07-15T13:43:51.071" v="8773" actId="6549"/>
          <ac:spMkLst>
            <pc:docMk/>
            <pc:sldMk cId="2213405035" sldId="341"/>
            <ac:spMk id="29" creationId="{C3D4C3F4-574E-452E-A420-BAAF269E0EEF}"/>
          </ac:spMkLst>
        </pc:spChg>
        <pc:spChg chg="mod">
          <ac:chgData name="Tan, Vincent (Allianz SE Singapore Branch)" userId="bbbac036-7280-4bac-9c0d-a2e2069e1d29" providerId="ADAL" clId="{9705F007-7B00-4062-93A0-BA587561B57D}" dt="2021-07-15T13:44:13.243" v="8785" actId="20577"/>
          <ac:spMkLst>
            <pc:docMk/>
            <pc:sldMk cId="2213405035" sldId="341"/>
            <ac:spMk id="30" creationId="{3C0D5F2C-5910-41CF-8B92-CC90494A331D}"/>
          </ac:spMkLst>
        </pc:spChg>
        <pc:graphicFrameChg chg="mod modGraphic">
          <ac:chgData name="Tan, Vincent (Allianz SE Singapore Branch)" userId="bbbac036-7280-4bac-9c0d-a2e2069e1d29" providerId="ADAL" clId="{9705F007-7B00-4062-93A0-BA587561B57D}" dt="2021-07-16T08:07:29.797" v="10098" actId="207"/>
          <ac:graphicFrameMkLst>
            <pc:docMk/>
            <pc:sldMk cId="2213405035" sldId="341"/>
            <ac:graphicFrameMk id="20" creationId="{49D53C52-A63D-4072-8862-98D5841FBB35}"/>
          </ac:graphicFrameMkLst>
        </pc:graphicFrameChg>
        <pc:picChg chg="add del mod modCrop">
          <ac:chgData name="Tan, Vincent (Allianz SE Singapore Branch)" userId="bbbac036-7280-4bac-9c0d-a2e2069e1d29" providerId="ADAL" clId="{9705F007-7B00-4062-93A0-BA587561B57D}" dt="2021-07-15T13:54:28.843" v="8876" actId="21"/>
          <ac:picMkLst>
            <pc:docMk/>
            <pc:sldMk cId="2213405035" sldId="341"/>
            <ac:picMk id="2" creationId="{54E94D8B-7AC0-490F-897C-A3944ECD3644}"/>
          </ac:picMkLst>
        </pc:picChg>
        <pc:picChg chg="del mod">
          <ac:chgData name="Tan, Vincent (Allianz SE Singapore Branch)" userId="bbbac036-7280-4bac-9c0d-a2e2069e1d29" providerId="ADAL" clId="{9705F007-7B00-4062-93A0-BA587561B57D}" dt="2021-07-15T13:43:46.175" v="8771" actId="478"/>
          <ac:picMkLst>
            <pc:docMk/>
            <pc:sldMk cId="2213405035" sldId="341"/>
            <ac:picMk id="7" creationId="{3E7C16CF-867D-42DB-B6F4-17470E22E51A}"/>
          </ac:picMkLst>
        </pc:picChg>
        <pc:picChg chg="add mod ord">
          <ac:chgData name="Tan, Vincent (Allianz SE Singapore Branch)" userId="bbbac036-7280-4bac-9c0d-a2e2069e1d29" providerId="ADAL" clId="{9705F007-7B00-4062-93A0-BA587561B57D}" dt="2021-07-15T14:34:45.765" v="9368" actId="14100"/>
          <ac:picMkLst>
            <pc:docMk/>
            <pc:sldMk cId="2213405035" sldId="341"/>
            <ac:picMk id="21" creationId="{C782B09D-DE58-44CC-A93A-6FFD64A9F172}"/>
          </ac:picMkLst>
        </pc:picChg>
      </pc:sldChg>
      <pc:sldChg chg="addSp delSp modSp add mod">
        <pc:chgData name="Tan, Vincent (Allianz SE Singapore Branch)" userId="bbbac036-7280-4bac-9c0d-a2e2069e1d29" providerId="ADAL" clId="{9705F007-7B00-4062-93A0-BA587561B57D}" dt="2021-07-16T08:42:57.084" v="10226" actId="6549"/>
        <pc:sldMkLst>
          <pc:docMk/>
          <pc:sldMk cId="2679527733" sldId="342"/>
        </pc:sldMkLst>
        <pc:spChg chg="mod">
          <ac:chgData name="Tan, Vincent (Allianz SE Singapore Branch)" userId="bbbac036-7280-4bac-9c0d-a2e2069e1d29" providerId="ADAL" clId="{9705F007-7B00-4062-93A0-BA587561B57D}" dt="2021-07-16T08:37:59.372" v="10210" actId="1076"/>
          <ac:spMkLst>
            <pc:docMk/>
            <pc:sldMk cId="2679527733" sldId="342"/>
            <ac:spMk id="9" creationId="{04035A73-03EB-4AAD-B67F-08A711353D1C}"/>
          </ac:spMkLst>
        </pc:spChg>
        <pc:spChg chg="mod">
          <ac:chgData name="Tan, Vincent (Allianz SE Singapore Branch)" userId="bbbac036-7280-4bac-9c0d-a2e2069e1d29" providerId="ADAL" clId="{9705F007-7B00-4062-93A0-BA587561B57D}" dt="2021-07-15T13:55:25.781" v="8904" actId="20577"/>
          <ac:spMkLst>
            <pc:docMk/>
            <pc:sldMk cId="2679527733" sldId="342"/>
            <ac:spMk id="29" creationId="{C3D4C3F4-574E-452E-A420-BAAF269E0EEF}"/>
          </ac:spMkLst>
        </pc:spChg>
        <pc:spChg chg="mod">
          <ac:chgData name="Tan, Vincent (Allianz SE Singapore Branch)" userId="bbbac036-7280-4bac-9c0d-a2e2069e1d29" providerId="ADAL" clId="{9705F007-7B00-4062-93A0-BA587561B57D}" dt="2021-07-15T13:55:32.296" v="8912" actId="20577"/>
          <ac:spMkLst>
            <pc:docMk/>
            <pc:sldMk cId="2679527733" sldId="342"/>
            <ac:spMk id="30" creationId="{3C0D5F2C-5910-41CF-8B92-CC90494A331D}"/>
          </ac:spMkLst>
        </pc:spChg>
        <pc:graphicFrameChg chg="add mod modGraphic">
          <ac:chgData name="Tan, Vincent (Allianz SE Singapore Branch)" userId="bbbac036-7280-4bac-9c0d-a2e2069e1d29" providerId="ADAL" clId="{9705F007-7B00-4062-93A0-BA587561B57D}" dt="2021-07-16T08:42:57.084" v="10226" actId="6549"/>
          <ac:graphicFrameMkLst>
            <pc:docMk/>
            <pc:sldMk cId="2679527733" sldId="342"/>
            <ac:graphicFrameMk id="18" creationId="{F26A6364-88D1-43E1-AEDE-600D379E4363}"/>
          </ac:graphicFrameMkLst>
        </pc:graphicFrameChg>
        <pc:graphicFrameChg chg="add mod modGraphic">
          <ac:chgData name="Tan, Vincent (Allianz SE Singapore Branch)" userId="bbbac036-7280-4bac-9c0d-a2e2069e1d29" providerId="ADAL" clId="{9705F007-7B00-4062-93A0-BA587561B57D}" dt="2021-07-16T08:19:09.950" v="10195" actId="1036"/>
          <ac:graphicFrameMkLst>
            <pc:docMk/>
            <pc:sldMk cId="2679527733" sldId="342"/>
            <ac:graphicFrameMk id="19" creationId="{B849A2D0-0E0C-4B57-8418-BA166A3CE887}"/>
          </ac:graphicFrameMkLst>
        </pc:graphicFrameChg>
        <pc:graphicFrameChg chg="del mod modGraphic">
          <ac:chgData name="Tan, Vincent (Allianz SE Singapore Branch)" userId="bbbac036-7280-4bac-9c0d-a2e2069e1d29" providerId="ADAL" clId="{9705F007-7B00-4062-93A0-BA587561B57D}" dt="2021-07-15T14:02:46.662" v="8964" actId="478"/>
          <ac:graphicFrameMkLst>
            <pc:docMk/>
            <pc:sldMk cId="2679527733" sldId="342"/>
            <ac:graphicFrameMk id="20" creationId="{49D53C52-A63D-4072-8862-98D5841FBB35}"/>
          </ac:graphicFrameMkLst>
        </pc:graphicFrameChg>
        <pc:picChg chg="add del mod ord modCrop">
          <ac:chgData name="Tan, Vincent (Allianz SE Singapore Branch)" userId="bbbac036-7280-4bac-9c0d-a2e2069e1d29" providerId="ADAL" clId="{9705F007-7B00-4062-93A0-BA587561B57D}" dt="2021-07-15T14:18:12.144" v="9115" actId="21"/>
          <ac:picMkLst>
            <pc:docMk/>
            <pc:sldMk cId="2679527733" sldId="342"/>
            <ac:picMk id="2" creationId="{5E1A2DD5-0B09-405D-A952-78AA9A10CB2C}"/>
          </ac:picMkLst>
        </pc:picChg>
        <pc:picChg chg="del">
          <ac:chgData name="Tan, Vincent (Allianz SE Singapore Branch)" userId="bbbac036-7280-4bac-9c0d-a2e2069e1d29" providerId="ADAL" clId="{9705F007-7B00-4062-93A0-BA587561B57D}" dt="2021-07-15T13:55:21.048" v="8894" actId="478"/>
          <ac:picMkLst>
            <pc:docMk/>
            <pc:sldMk cId="2679527733" sldId="342"/>
            <ac:picMk id="7" creationId="{3E7C16CF-867D-42DB-B6F4-17470E22E51A}"/>
          </ac:picMkLst>
        </pc:picChg>
        <pc:picChg chg="add mod ord">
          <ac:chgData name="Tan, Vincent (Allianz SE Singapore Branch)" userId="bbbac036-7280-4bac-9c0d-a2e2069e1d29" providerId="ADAL" clId="{9705F007-7B00-4062-93A0-BA587561B57D}" dt="2021-07-15T14:35:01.915" v="9369" actId="14100"/>
          <ac:picMkLst>
            <pc:docMk/>
            <pc:sldMk cId="2679527733" sldId="342"/>
            <ac:picMk id="21" creationId="{27DB6809-D51A-4E75-B878-FFBBF745A3FF}"/>
          </ac:picMkLst>
        </pc:picChg>
        <pc:picChg chg="mod">
          <ac:chgData name="Tan, Vincent (Allianz SE Singapore Branch)" userId="bbbac036-7280-4bac-9c0d-a2e2069e1d29" providerId="ADAL" clId="{9705F007-7B00-4062-93A0-BA587561B57D}" dt="2021-07-15T14:35:10.263" v="9401" actId="1037"/>
          <ac:picMkLst>
            <pc:docMk/>
            <pc:sldMk cId="2679527733" sldId="342"/>
            <ac:picMk id="31" creationId="{EAC146F8-AFBD-4DAA-84C9-CA4BDE0401BB}"/>
          </ac:picMkLst>
        </pc:picChg>
      </pc:sldChg>
      <pc:sldChg chg="modSp add del mod">
        <pc:chgData name="Tan, Vincent (Allianz SE Singapore Branch)" userId="bbbac036-7280-4bac-9c0d-a2e2069e1d29" providerId="ADAL" clId="{9705F007-7B00-4062-93A0-BA587561B57D}" dt="2021-07-14T07:30:57.336" v="6926" actId="47"/>
        <pc:sldMkLst>
          <pc:docMk/>
          <pc:sldMk cId="3798077470" sldId="342"/>
        </pc:sldMkLst>
        <pc:spChg chg="mod">
          <ac:chgData name="Tan, Vincent (Allianz SE Singapore Branch)" userId="bbbac036-7280-4bac-9c0d-a2e2069e1d29" providerId="ADAL" clId="{9705F007-7B00-4062-93A0-BA587561B57D}" dt="2021-07-14T06:07:57.567" v="6832"/>
          <ac:spMkLst>
            <pc:docMk/>
            <pc:sldMk cId="3798077470" sldId="342"/>
            <ac:spMk id="2" creationId="{D94260D1-C400-40B5-BF78-325FA4720398}"/>
          </ac:spMkLst>
        </pc:spChg>
        <pc:spChg chg="mod">
          <ac:chgData name="Tan, Vincent (Allianz SE Singapore Branch)" userId="bbbac036-7280-4bac-9c0d-a2e2069e1d29" providerId="ADAL" clId="{9705F007-7B00-4062-93A0-BA587561B57D}" dt="2021-07-14T06:08:26.762" v="6833"/>
          <ac:spMkLst>
            <pc:docMk/>
            <pc:sldMk cId="3798077470" sldId="342"/>
            <ac:spMk id="5" creationId="{60310303-3B44-4A16-894C-C0D27EA0080F}"/>
          </ac:spMkLst>
        </pc:spChg>
        <pc:graphicFrameChg chg="mod modGraphic">
          <ac:chgData name="Tan, Vincent (Allianz SE Singapore Branch)" userId="bbbac036-7280-4bac-9c0d-a2e2069e1d29" providerId="ADAL" clId="{9705F007-7B00-4062-93A0-BA587561B57D}" dt="2021-07-14T06:10:36.149" v="6849" actId="14734"/>
          <ac:graphicFrameMkLst>
            <pc:docMk/>
            <pc:sldMk cId="3798077470" sldId="342"/>
            <ac:graphicFrameMk id="25" creationId="{484E6092-FA04-4872-BB10-4C5B5410BB0D}"/>
          </ac:graphicFrameMkLst>
        </pc:graphicFrameChg>
      </pc:sldChg>
      <pc:sldChg chg="addSp modSp new del">
        <pc:chgData name="Tan, Vincent (Allianz SE Singapore Branch)" userId="bbbac036-7280-4bac-9c0d-a2e2069e1d29" providerId="ADAL" clId="{9705F007-7B00-4062-93A0-BA587561B57D}" dt="2021-07-14T07:15:30.043" v="6854" actId="47"/>
        <pc:sldMkLst>
          <pc:docMk/>
          <pc:sldMk cId="395966459" sldId="343"/>
        </pc:sldMkLst>
        <pc:spChg chg="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2" creationId="{8A756FCB-5DB9-40EC-89D7-D0C8B7658E2E}"/>
          </ac:spMkLst>
        </pc:spChg>
        <pc:spChg chg="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3" creationId="{9591D025-FDA5-4292-91EE-542FD3CD648E}"/>
          </ac:spMkLst>
        </pc:spChg>
        <pc:spChg chg="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4" creationId="{E579FF8A-AD79-458B-9BF5-81D11CD82801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5" creationId="{C12F82E5-EB79-4034-8E14-8D920ECDB62A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6" creationId="{81062781-6078-41DF-8372-1B4AA1E21A1D}"/>
          </ac:spMkLst>
        </pc:spChg>
        <pc:spChg chg="add mod">
          <ac:chgData name="Tan, Vincent (Allianz SE Singapore Branch)" userId="bbbac036-7280-4bac-9c0d-a2e2069e1d29" providerId="ADAL" clId="{9705F007-7B00-4062-93A0-BA587561B57D}" dt="2021-07-14T07:15:19.415" v="6853"/>
          <ac:spMkLst>
            <pc:docMk/>
            <pc:sldMk cId="395966459" sldId="343"/>
            <ac:spMk id="7" creationId="{A6676CDC-0682-43DC-A421-8F19FF1BD207}"/>
          </ac:spMkLst>
        </pc:spChg>
      </pc:sldChg>
      <pc:sldChg chg="new del">
        <pc:chgData name="Tan, Vincent (Allianz SE Singapore Branch)" userId="bbbac036-7280-4bac-9c0d-a2e2069e1d29" providerId="ADAL" clId="{9705F007-7B00-4062-93A0-BA587561B57D}" dt="2021-07-14T07:27:02.385" v="6925" actId="47"/>
        <pc:sldMkLst>
          <pc:docMk/>
          <pc:sldMk cId="870487607" sldId="343"/>
        </pc:sldMkLst>
      </pc:sldChg>
      <pc:sldChg chg="addSp delSp modSp add del mod">
        <pc:chgData name="Tan, Vincent (Allianz SE Singapore Branch)" userId="bbbac036-7280-4bac-9c0d-a2e2069e1d29" providerId="ADAL" clId="{9705F007-7B00-4062-93A0-BA587561B57D}" dt="2021-07-15T13:57:17.422" v="8935" actId="47"/>
        <pc:sldMkLst>
          <pc:docMk/>
          <pc:sldMk cId="1116029321" sldId="343"/>
        </pc:sldMkLst>
        <pc:spChg chg="add del mod">
          <ac:chgData name="Tan, Vincent (Allianz SE Singapore Branch)" userId="bbbac036-7280-4bac-9c0d-a2e2069e1d29" providerId="ADAL" clId="{9705F007-7B00-4062-93A0-BA587561B57D}" dt="2021-07-15T13:55:56.468" v="8920" actId="478"/>
          <ac:spMkLst>
            <pc:docMk/>
            <pc:sldMk cId="1116029321" sldId="343"/>
            <ac:spMk id="3" creationId="{17518902-B4A0-4F7B-862C-7AD95D08677F}"/>
          </ac:spMkLst>
        </pc:spChg>
        <pc:spChg chg="del">
          <ac:chgData name="Tan, Vincent (Allianz SE Singapore Branch)" userId="bbbac036-7280-4bac-9c0d-a2e2069e1d29" providerId="ADAL" clId="{9705F007-7B00-4062-93A0-BA587561B57D}" dt="2021-07-15T13:55:58.809" v="8921" actId="478"/>
          <ac:spMkLst>
            <pc:docMk/>
            <pc:sldMk cId="1116029321" sldId="343"/>
            <ac:spMk id="5" creationId="{5990B510-2C92-4B48-BB51-5C5D8CD1730F}"/>
          </ac:spMkLst>
        </pc:spChg>
        <pc:spChg chg="add mod">
          <ac:chgData name="Tan, Vincent (Allianz SE Singapore Branch)" userId="bbbac036-7280-4bac-9c0d-a2e2069e1d29" providerId="ADAL" clId="{9705F007-7B00-4062-93A0-BA587561B57D}" dt="2021-07-15T13:56:24.824" v="8926" actId="208"/>
          <ac:spMkLst>
            <pc:docMk/>
            <pc:sldMk cId="1116029321" sldId="343"/>
            <ac:spMk id="7" creationId="{8B29B859-1248-4F5C-9C9E-B8C526E4E5F6}"/>
          </ac:spMkLst>
        </pc:spChg>
        <pc:spChg chg="del">
          <ac:chgData name="Tan, Vincent (Allianz SE Singapore Branch)" userId="bbbac036-7280-4bac-9c0d-a2e2069e1d29" providerId="ADAL" clId="{9705F007-7B00-4062-93A0-BA587561B57D}" dt="2021-07-15T13:55:53.712" v="8919" actId="478"/>
          <ac:spMkLst>
            <pc:docMk/>
            <pc:sldMk cId="1116029321" sldId="343"/>
            <ac:spMk id="11" creationId="{DB8D6F0A-A618-495F-AC3E-56829AF11EE9}"/>
          </ac:spMkLst>
        </pc:spChg>
        <pc:spChg chg="del">
          <ac:chgData name="Tan, Vincent (Allianz SE Singapore Branch)" userId="bbbac036-7280-4bac-9c0d-a2e2069e1d29" providerId="ADAL" clId="{9705F007-7B00-4062-93A0-BA587561B57D}" dt="2021-07-15T13:55:51.063" v="8918" actId="478"/>
          <ac:spMkLst>
            <pc:docMk/>
            <pc:sldMk cId="1116029321" sldId="343"/>
            <ac:spMk id="36" creationId="{EFD68281-062F-42E5-AAD5-F6CADCDBF014}"/>
          </ac:spMkLst>
        </pc:spChg>
        <pc:spChg chg="del">
          <ac:chgData name="Tan, Vincent (Allianz SE Singapore Branch)" userId="bbbac036-7280-4bac-9c0d-a2e2069e1d29" providerId="ADAL" clId="{9705F007-7B00-4062-93A0-BA587561B57D}" dt="2021-07-15T13:55:47.839" v="8917" actId="478"/>
          <ac:spMkLst>
            <pc:docMk/>
            <pc:sldMk cId="1116029321" sldId="343"/>
            <ac:spMk id="39" creationId="{217EFEEE-813A-4C66-B5CD-6E83B64C2BD5}"/>
          </ac:spMkLst>
        </pc:spChg>
        <pc:grpChg chg="del">
          <ac:chgData name="Tan, Vincent (Allianz SE Singapore Branch)" userId="bbbac036-7280-4bac-9c0d-a2e2069e1d29" providerId="ADAL" clId="{9705F007-7B00-4062-93A0-BA587561B57D}" dt="2021-07-15T13:55:47.839" v="8917" actId="478"/>
          <ac:grpSpMkLst>
            <pc:docMk/>
            <pc:sldMk cId="1116029321" sldId="343"/>
            <ac:grpSpMk id="29" creationId="{4B5972B8-00E7-414A-BE77-65EC7F58D504}"/>
          </ac:grpSpMkLst>
        </pc:grpChg>
        <pc:grpChg chg="mod">
          <ac:chgData name="Tan, Vincent (Allianz SE Singapore Branch)" userId="bbbac036-7280-4bac-9c0d-a2e2069e1d29" providerId="ADAL" clId="{9705F007-7B00-4062-93A0-BA587561B57D}" dt="2021-07-15T13:56:04.439" v="8923" actId="1076"/>
          <ac:grpSpMkLst>
            <pc:docMk/>
            <pc:sldMk cId="1116029321" sldId="343"/>
            <ac:grpSpMk id="32" creationId="{53B42251-0831-4070-A69C-CEF1979D73F1}"/>
          </ac:grpSpMkLst>
        </pc:grpChg>
        <pc:graphicFrameChg chg="del modGraphic">
          <ac:chgData name="Tan, Vincent (Allianz SE Singapore Branch)" userId="bbbac036-7280-4bac-9c0d-a2e2069e1d29" providerId="ADAL" clId="{9705F007-7B00-4062-93A0-BA587561B57D}" dt="2021-07-15T13:55:43.855" v="8915" actId="478"/>
          <ac:graphicFrameMkLst>
            <pc:docMk/>
            <pc:sldMk cId="1116029321" sldId="343"/>
            <ac:graphicFrameMk id="20" creationId="{49D53C52-A63D-4072-8862-98D5841FBB35}"/>
          </ac:graphicFrameMkLst>
        </pc:graphicFrameChg>
        <pc:graphicFrameChg chg="del">
          <ac:chgData name="Tan, Vincent (Allianz SE Singapore Branch)" userId="bbbac036-7280-4bac-9c0d-a2e2069e1d29" providerId="ADAL" clId="{9705F007-7B00-4062-93A0-BA587561B57D}" dt="2021-07-15T13:55:44.928" v="8916" actId="478"/>
          <ac:graphicFrameMkLst>
            <pc:docMk/>
            <pc:sldMk cId="1116029321" sldId="343"/>
            <ac:graphicFrameMk id="33" creationId="{0DBF25BE-7C33-4BAD-8A0D-37B26BFB4225}"/>
          </ac:graphicFrameMkLst>
        </pc:graphicFrameChg>
      </pc:sldChg>
      <pc:sldChg chg="add del">
        <pc:chgData name="Tan, Vincent (Allianz SE Singapore Branch)" userId="bbbac036-7280-4bac-9c0d-a2e2069e1d29" providerId="ADAL" clId="{9705F007-7B00-4062-93A0-BA587561B57D}" dt="2021-07-15T13:36:36.211" v="8710" actId="47"/>
        <pc:sldMkLst>
          <pc:docMk/>
          <pc:sldMk cId="3614116984" sldId="343"/>
        </pc:sldMkLst>
      </pc:sldChg>
      <pc:sldMasterChg chg="addSldLayout delSldLayout">
        <pc:chgData name="Tan, Vincent (Allianz SE Singapore Branch)" userId="bbbac036-7280-4bac-9c0d-a2e2069e1d29" providerId="ADAL" clId="{9705F007-7B00-4062-93A0-BA587561B57D}" dt="2021-07-14T07:33:29.494" v="6993" actId="47"/>
        <pc:sldMasterMkLst>
          <pc:docMk/>
          <pc:sldMasterMk cId="971295014" sldId="2147483648"/>
        </pc:sldMasterMkLst>
        <pc:sldLayoutChg chg="add del">
          <pc:chgData name="Tan, Vincent (Allianz SE Singapore Branch)" userId="bbbac036-7280-4bac-9c0d-a2e2069e1d29" providerId="ADAL" clId="{9705F007-7B00-4062-93A0-BA587561B57D}" dt="2021-07-14T07:33:29.494" v="6993" actId="47"/>
          <pc:sldLayoutMkLst>
            <pc:docMk/>
            <pc:sldMasterMk cId="971295014" sldId="2147483648"/>
            <pc:sldLayoutMk cId="2423052379" sldId="2147483691"/>
          </pc:sldLayoutMkLst>
        </pc:sldLayoutChg>
      </pc:sldMasterChg>
      <pc:sldMasterChg chg="del delSldLayout">
        <pc:chgData name="Tan, Vincent (Allianz SE Singapore Branch)" userId="bbbac036-7280-4bac-9c0d-a2e2069e1d29" providerId="ADAL" clId="{9705F007-7B00-4062-93A0-BA587561B57D}" dt="2021-07-14T02:59:05.432" v="3323" actId="47"/>
        <pc:sldMasterMkLst>
          <pc:docMk/>
          <pc:sldMasterMk cId="3333770741" sldId="2147483691"/>
        </pc:sldMasterMkLst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836861077" sldId="2147483692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360511389" sldId="2147483693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979360318" sldId="2147483694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73378574" sldId="2147483695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944922854" sldId="2147483696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4282462096" sldId="2147483697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60043722" sldId="2147483698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826692405" sldId="2147483699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101089677" sldId="2147483700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939889350" sldId="2147483701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757448447" sldId="2147483702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43034138" sldId="2147483703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637788274" sldId="2147483704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115518860" sldId="2147483705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253506183" sldId="2147483706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323943640" sldId="2147483707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714527812" sldId="2147483708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61238074" sldId="2147483709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394533827" sldId="2147483710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28273270" sldId="2147483711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910657996" sldId="2147483712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723555887" sldId="2147483713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3001313234" sldId="2147483714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318165681" sldId="2147483715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072490170" sldId="2147483716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201318403" sldId="2147483717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2019468015" sldId="2147483718"/>
          </pc:sldLayoutMkLst>
        </pc:sldLayoutChg>
        <pc:sldLayoutChg chg="del">
          <pc:chgData name="Tan, Vincent (Allianz SE Singapore Branch)" userId="bbbac036-7280-4bac-9c0d-a2e2069e1d29" providerId="ADAL" clId="{9705F007-7B00-4062-93A0-BA587561B57D}" dt="2021-07-14T02:59:05.432" v="3323" actId="47"/>
          <pc:sldLayoutMkLst>
            <pc:docMk/>
            <pc:sldMasterMk cId="3333770741" sldId="2147483691"/>
            <pc:sldLayoutMk cId="1582073804" sldId="2147483719"/>
          </pc:sldLayoutMkLst>
        </pc:sldLayoutChg>
      </pc:sldMasterChg>
    </pc:docChg>
  </pc:docChgLst>
  <pc:docChgLst>
    <pc:chgData name="Kandasamy, Amarnath (Allianz SE Singapore Branch)" userId="8687e8ce-c07a-4e90-879f-40f8d923d716" providerId="ADAL" clId="{8CC1631C-8206-4CD6-8ADF-2C8D473A71DB}"/>
    <pc:docChg chg="modSld">
      <pc:chgData name="Kandasamy, Amarnath (Allianz SE Singapore Branch)" userId="8687e8ce-c07a-4e90-879f-40f8d923d716" providerId="ADAL" clId="{8CC1631C-8206-4CD6-8ADF-2C8D473A71DB}" dt="2023-03-31T01:56:17.152" v="11" actId="20577"/>
      <pc:docMkLst>
        <pc:docMk/>
      </pc:docMkLst>
      <pc:sldChg chg="modSp mod">
        <pc:chgData name="Kandasamy, Amarnath (Allianz SE Singapore Branch)" userId="8687e8ce-c07a-4e90-879f-40f8d923d716" providerId="ADAL" clId="{8CC1631C-8206-4CD6-8ADF-2C8D473A71DB}" dt="2023-03-31T01:56:17.152" v="11" actId="20577"/>
        <pc:sldMkLst>
          <pc:docMk/>
          <pc:sldMk cId="2307193711" sldId="361"/>
        </pc:sldMkLst>
        <pc:graphicFrameChg chg="modGraphic">
          <ac:chgData name="Kandasamy, Amarnath (Allianz SE Singapore Branch)" userId="8687e8ce-c07a-4e90-879f-40f8d923d716" providerId="ADAL" clId="{8CC1631C-8206-4CD6-8ADF-2C8D473A71DB}" dt="2023-03-31T01:56:17.152" v="11" actId="20577"/>
          <ac:graphicFrameMkLst>
            <pc:docMk/>
            <pc:sldMk cId="2307193711" sldId="361"/>
            <ac:graphicFrameMk id="20" creationId="{49D53C52-A63D-4072-8862-98D5841FBB35}"/>
          </ac:graphicFrameMkLst>
        </pc:graphicFrameChg>
      </pc:sldChg>
    </pc:docChg>
  </pc:docChgLst>
  <pc:docChgLst>
    <pc:chgData name="Tan, Vincent (Allianz SE Singapore Branch)" userId="bbbac036-7280-4bac-9c0d-a2e2069e1d29" providerId="ADAL" clId="{FC6D7712-B324-4F86-895B-877EF7E40434}"/>
    <pc:docChg chg="addSld delSld modSld">
      <pc:chgData name="Tan, Vincent (Allianz SE Singapore Branch)" userId="bbbac036-7280-4bac-9c0d-a2e2069e1d29" providerId="ADAL" clId="{FC6D7712-B324-4F86-895B-877EF7E40434}" dt="2023-04-13T09:07:07.864" v="7" actId="6549"/>
      <pc:docMkLst>
        <pc:docMk/>
      </pc:docMkLst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926684835" sldId="312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2927084689" sldId="313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424172373" sldId="313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982439851" sldId="318"/>
        </pc:sldMkLst>
      </pc:sldChg>
      <pc:sldChg chg="add del mod modShow">
        <pc:chgData name="Tan, Vincent (Allianz SE Singapore Branch)" userId="bbbac036-7280-4bac-9c0d-a2e2069e1d29" providerId="ADAL" clId="{FC6D7712-B324-4F86-895B-877EF7E40434}" dt="2023-03-29T01:28:17.186" v="4" actId="729"/>
        <pc:sldMkLst>
          <pc:docMk/>
          <pc:sldMk cId="2988009286" sldId="321"/>
        </pc:sldMkLst>
      </pc:sldChg>
      <pc:sldChg chg="add del mod modShow">
        <pc:chgData name="Tan, Vincent (Allianz SE Singapore Branch)" userId="bbbac036-7280-4bac-9c0d-a2e2069e1d29" providerId="ADAL" clId="{FC6D7712-B324-4F86-895B-877EF7E40434}" dt="2023-03-29T01:28:22.278" v="5" actId="729"/>
        <pc:sldMkLst>
          <pc:docMk/>
          <pc:sldMk cId="140688261" sldId="322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794999500" sldId="323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500830620" sldId="325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84913962" sldId="326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020000987" sldId="326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377735216" sldId="329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3169770881" sldId="329"/>
        </pc:sldMkLst>
      </pc:sldChg>
      <pc:sldChg chg="modSp add del mod">
        <pc:chgData name="Tan, Vincent (Allianz SE Singapore Branch)" userId="bbbac036-7280-4bac-9c0d-a2e2069e1d29" providerId="ADAL" clId="{FC6D7712-B324-4F86-895B-877EF7E40434}" dt="2023-04-13T09:07:07.864" v="7" actId="6549"/>
        <pc:sldMkLst>
          <pc:docMk/>
          <pc:sldMk cId="2272062067" sldId="330"/>
        </pc:sldMkLst>
        <pc:graphicFrameChg chg="modGraphic">
          <ac:chgData name="Tan, Vincent (Allianz SE Singapore Branch)" userId="bbbac036-7280-4bac-9c0d-a2e2069e1d29" providerId="ADAL" clId="{FC6D7712-B324-4F86-895B-877EF7E40434}" dt="2023-04-13T09:07:07.864" v="7" actId="6549"/>
          <ac:graphicFrameMkLst>
            <pc:docMk/>
            <pc:sldMk cId="2272062067" sldId="330"/>
            <ac:graphicFrameMk id="9" creationId="{74A04039-9DD9-4DE3-94BA-89D2F421CA4F}"/>
          </ac:graphicFrameMkLst>
        </pc:graphicFrameChg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632216239" sldId="332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4055555262" sldId="334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903923561" sldId="336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663922343" sldId="337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98628367" sldId="338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976356366" sldId="338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2916114309" sldId="339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705117391" sldId="339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258948974" sldId="340"/>
        </pc:sldMkLst>
      </pc:sldChg>
      <pc:sldChg chg="del">
        <pc:chgData name="Tan, Vincent (Allianz SE Singapore Branch)" userId="bbbac036-7280-4bac-9c0d-a2e2069e1d29" providerId="ADAL" clId="{FC6D7712-B324-4F86-895B-877EF7E40434}" dt="2023-03-29T01:28:02.995" v="2" actId="47"/>
        <pc:sldMkLst>
          <pc:docMk/>
          <pc:sldMk cId="2213405035" sldId="341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4093567813" sldId="341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679527733" sldId="342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550605438" sldId="343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563796760" sldId="344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951216619" sldId="345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082986013" sldId="346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941537688" sldId="346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535489099" sldId="347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654581147" sldId="347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516615160" sldId="349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397916887" sldId="350"/>
        </pc:sldMkLst>
      </pc:sldChg>
      <pc:sldChg chg="add del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701756945" sldId="351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252955623" sldId="352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868480455" sldId="352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972665589" sldId="353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4210795983" sldId="353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560741469" sldId="354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1896385211" sldId="354"/>
        </pc:sldMkLst>
      </pc:sldChg>
      <pc:sldChg chg="add">
        <pc:chgData name="Tan, Vincent (Allianz SE Singapore Branch)" userId="bbbac036-7280-4bac-9c0d-a2e2069e1d29" providerId="ADAL" clId="{FC6D7712-B324-4F86-895B-877EF7E40434}" dt="2023-03-29T01:28:05.351" v="3"/>
        <pc:sldMkLst>
          <pc:docMk/>
          <pc:sldMk cId="2732042932" sldId="355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565321065" sldId="355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725862424" sldId="356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418432037" sldId="357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0375146" sldId="358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252955623" sldId="359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941537688" sldId="360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535489099" sldId="361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373112856" sldId="362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896385211" sldId="363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560268267" sldId="364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972665589" sldId="365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2732042932" sldId="366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30612559" sldId="367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566011903" sldId="368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918326415" sldId="369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020000987" sldId="370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976356366" sldId="371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1377735216" sldId="372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424172373" sldId="373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3705117391" sldId="374"/>
        </pc:sldMkLst>
      </pc:sldChg>
      <pc:sldChg chg="add del">
        <pc:chgData name="Tan, Vincent (Allianz SE Singapore Branch)" userId="bbbac036-7280-4bac-9c0d-a2e2069e1d29" providerId="ADAL" clId="{FC6D7712-B324-4F86-895B-877EF7E40434}" dt="2023-03-29T01:27:48.068" v="1"/>
        <pc:sldMkLst>
          <pc:docMk/>
          <pc:sldMk cId="4093567813" sldId="375"/>
        </pc:sldMkLst>
      </pc:sldChg>
    </pc:docChg>
  </pc:docChgLst>
  <pc:docChgLst>
    <pc:chgData name="Ho, Edwin (Allianz SE Singapore Branch)" userId="3fed6b31-4da3-425b-8cfe-51485ecfeec9" providerId="ADAL" clId="{CBF448B6-8C64-4DB2-A39A-ABBA1DF6B764}"/>
    <pc:docChg chg="undo custSel addSld delSld modSld">
      <pc:chgData name="Ho, Edwin (Allianz SE Singapore Branch)" userId="3fed6b31-4da3-425b-8cfe-51485ecfeec9" providerId="ADAL" clId="{CBF448B6-8C64-4DB2-A39A-ABBA1DF6B764}" dt="2023-04-06T02:45:05.257" v="767" actId="20577"/>
      <pc:docMkLst>
        <pc:docMk/>
      </pc:docMkLst>
      <pc:sldChg chg="modSp mod">
        <pc:chgData name="Ho, Edwin (Allianz SE Singapore Branch)" userId="3fed6b31-4da3-425b-8cfe-51485ecfeec9" providerId="ADAL" clId="{CBF448B6-8C64-4DB2-A39A-ABBA1DF6B764}" dt="2023-04-06T02:45:05.257" v="767" actId="20577"/>
        <pc:sldMkLst>
          <pc:docMk/>
          <pc:sldMk cId="2272062067" sldId="330"/>
        </pc:sldMkLst>
        <pc:spChg chg="mod">
          <ac:chgData name="Ho, Edwin (Allianz SE Singapore Branch)" userId="3fed6b31-4da3-425b-8cfe-51485ecfeec9" providerId="ADAL" clId="{CBF448B6-8C64-4DB2-A39A-ABBA1DF6B764}" dt="2023-04-06T02:44:08.267" v="688" actId="20577"/>
          <ac:spMkLst>
            <pc:docMk/>
            <pc:sldMk cId="2272062067" sldId="330"/>
            <ac:spMk id="18" creationId="{118D0A2B-748F-4F18-8F20-F55D8C7CDF87}"/>
          </ac:spMkLst>
        </pc:spChg>
        <pc:graphicFrameChg chg="modGraphic">
          <ac:chgData name="Ho, Edwin (Allianz SE Singapore Branch)" userId="3fed6b31-4da3-425b-8cfe-51485ecfeec9" providerId="ADAL" clId="{CBF448B6-8C64-4DB2-A39A-ABBA1DF6B764}" dt="2023-04-06T02:45:05.257" v="767" actId="20577"/>
          <ac:graphicFrameMkLst>
            <pc:docMk/>
            <pc:sldMk cId="2272062067" sldId="330"/>
            <ac:graphicFrameMk id="17" creationId="{87CB1129-7C6F-4DE6-9794-A18DB13E5E1A}"/>
          </ac:graphicFrameMkLst>
        </pc:graphicFrameChg>
      </pc:sldChg>
      <pc:sldChg chg="del">
        <pc:chgData name="Ho, Edwin (Allianz SE Singapore Branch)" userId="3fed6b31-4da3-425b-8cfe-51485ecfeec9" providerId="ADAL" clId="{CBF448B6-8C64-4DB2-A39A-ABBA1DF6B764}" dt="2023-04-04T03:50:37.286" v="1" actId="47"/>
        <pc:sldMkLst>
          <pc:docMk/>
          <pc:sldMk cId="2663922343" sldId="337"/>
        </pc:sldMkLst>
      </pc:sldChg>
      <pc:sldChg chg="modSp mod">
        <pc:chgData name="Ho, Edwin (Allianz SE Singapore Branch)" userId="3fed6b31-4da3-425b-8cfe-51485ecfeec9" providerId="ADAL" clId="{CBF448B6-8C64-4DB2-A39A-ABBA1DF6B764}" dt="2023-04-06T02:27:30.891" v="65" actId="20577"/>
        <pc:sldMkLst>
          <pc:docMk/>
          <pc:sldMk cId="1896385211" sldId="354"/>
        </pc:sldMkLst>
        <pc:graphicFrameChg chg="mod modGraphic">
          <ac:chgData name="Ho, Edwin (Allianz SE Singapore Branch)" userId="3fed6b31-4da3-425b-8cfe-51485ecfeec9" providerId="ADAL" clId="{CBF448B6-8C64-4DB2-A39A-ABBA1DF6B764}" dt="2023-04-06T02:27:30.891" v="65" actId="20577"/>
          <ac:graphicFrameMkLst>
            <pc:docMk/>
            <pc:sldMk cId="1896385211" sldId="354"/>
            <ac:graphicFrameMk id="19" creationId="{B849A2D0-0E0C-4B57-8418-BA166A3CE887}"/>
          </ac:graphicFrameMkLst>
        </pc:graphicFrameChg>
      </pc:sldChg>
      <pc:sldChg chg="modSp mod">
        <pc:chgData name="Ho, Edwin (Allianz SE Singapore Branch)" userId="3fed6b31-4da3-425b-8cfe-51485ecfeec9" providerId="ADAL" clId="{CBF448B6-8C64-4DB2-A39A-ABBA1DF6B764}" dt="2023-04-06T02:36:26.538" v="474" actId="20577"/>
        <pc:sldMkLst>
          <pc:docMk/>
          <pc:sldMk cId="3810239924" sldId="356"/>
        </pc:sldMkLst>
        <pc:graphicFrameChg chg="mod modGraphic">
          <ac:chgData name="Ho, Edwin (Allianz SE Singapore Branch)" userId="3fed6b31-4da3-425b-8cfe-51485ecfeec9" providerId="ADAL" clId="{CBF448B6-8C64-4DB2-A39A-ABBA1DF6B764}" dt="2023-04-06T02:36:26.538" v="474" actId="20577"/>
          <ac:graphicFrameMkLst>
            <pc:docMk/>
            <pc:sldMk cId="3810239924" sldId="356"/>
            <ac:graphicFrameMk id="19" creationId="{B849A2D0-0E0C-4B57-8418-BA166A3CE887}"/>
          </ac:graphicFrameMkLst>
        </pc:graphicFrameChg>
      </pc:sldChg>
      <pc:sldChg chg="modSp mod">
        <pc:chgData name="Ho, Edwin (Allianz SE Singapore Branch)" userId="3fed6b31-4da3-425b-8cfe-51485ecfeec9" providerId="ADAL" clId="{CBF448B6-8C64-4DB2-A39A-ABBA1DF6B764}" dt="2023-04-06T02:34:34.786" v="407" actId="790"/>
        <pc:sldMkLst>
          <pc:docMk/>
          <pc:sldMk cId="2970266822" sldId="357"/>
        </pc:sldMkLst>
        <pc:spChg chg="mod">
          <ac:chgData name="Ho, Edwin (Allianz SE Singapore Branch)" userId="3fed6b31-4da3-425b-8cfe-51485ecfeec9" providerId="ADAL" clId="{CBF448B6-8C64-4DB2-A39A-ABBA1DF6B764}" dt="2023-04-06T02:34:34.786" v="407" actId="790"/>
          <ac:spMkLst>
            <pc:docMk/>
            <pc:sldMk cId="2970266822" sldId="357"/>
            <ac:spMk id="29" creationId="{C3D4C3F4-574E-452E-A420-BAAF269E0EEF}"/>
          </ac:spMkLst>
        </pc:spChg>
        <pc:graphicFrameChg chg="modGraphic">
          <ac:chgData name="Ho, Edwin (Allianz SE Singapore Branch)" userId="3fed6b31-4da3-425b-8cfe-51485ecfeec9" providerId="ADAL" clId="{CBF448B6-8C64-4DB2-A39A-ABBA1DF6B764}" dt="2023-04-06T02:34:21.240" v="406" actId="20577"/>
          <ac:graphicFrameMkLst>
            <pc:docMk/>
            <pc:sldMk cId="2970266822" sldId="357"/>
            <ac:graphicFrameMk id="19" creationId="{B849A2D0-0E0C-4B57-8418-BA166A3CE887}"/>
          </ac:graphicFrameMkLst>
        </pc:graphicFrameChg>
      </pc:sldChg>
      <pc:sldChg chg="modSp add mod">
        <pc:chgData name="Ho, Edwin (Allianz SE Singapore Branch)" userId="3fed6b31-4da3-425b-8cfe-51485ecfeec9" providerId="ADAL" clId="{CBF448B6-8C64-4DB2-A39A-ABBA1DF6B764}" dt="2023-04-06T02:34:04.012" v="364" actId="20577"/>
        <pc:sldMkLst>
          <pc:docMk/>
          <pc:sldMk cId="4183648097" sldId="366"/>
        </pc:sldMkLst>
        <pc:graphicFrameChg chg="modGraphic">
          <ac:chgData name="Ho, Edwin (Allianz SE Singapore Branch)" userId="3fed6b31-4da3-425b-8cfe-51485ecfeec9" providerId="ADAL" clId="{CBF448B6-8C64-4DB2-A39A-ABBA1DF6B764}" dt="2023-04-06T02:34:04.012" v="364" actId="20577"/>
          <ac:graphicFrameMkLst>
            <pc:docMk/>
            <pc:sldMk cId="4183648097" sldId="366"/>
            <ac:graphicFrameMk id="19" creationId="{B849A2D0-0E0C-4B57-8418-BA166A3CE887}"/>
          </ac:graphicFrameMkLst>
        </pc:graphicFrameChg>
      </pc:sldChg>
      <pc:sldChg chg="modSp add mod">
        <pc:chgData name="Ho, Edwin (Allianz SE Singapore Branch)" userId="3fed6b31-4da3-425b-8cfe-51485ecfeec9" providerId="ADAL" clId="{CBF448B6-8C64-4DB2-A39A-ABBA1DF6B764}" dt="2023-04-06T02:40:16.760" v="579" actId="5793"/>
        <pc:sldMkLst>
          <pc:docMk/>
          <pc:sldMk cId="1536432215" sldId="367"/>
        </pc:sldMkLst>
        <pc:spChg chg="mod">
          <ac:chgData name="Ho, Edwin (Allianz SE Singapore Branch)" userId="3fed6b31-4da3-425b-8cfe-51485ecfeec9" providerId="ADAL" clId="{CBF448B6-8C64-4DB2-A39A-ABBA1DF6B764}" dt="2023-04-06T02:40:08.276" v="575" actId="20577"/>
          <ac:spMkLst>
            <pc:docMk/>
            <pc:sldMk cId="1536432215" sldId="367"/>
            <ac:spMk id="20" creationId="{07DEB561-0AF1-4570-93B2-44EA31806D28}"/>
          </ac:spMkLst>
        </pc:spChg>
        <pc:spChg chg="mod">
          <ac:chgData name="Ho, Edwin (Allianz SE Singapore Branch)" userId="3fed6b31-4da3-425b-8cfe-51485ecfeec9" providerId="ADAL" clId="{CBF448B6-8C64-4DB2-A39A-ABBA1DF6B764}" dt="2023-04-06T02:40:16.760" v="579" actId="5793"/>
          <ac:spMkLst>
            <pc:docMk/>
            <pc:sldMk cId="1536432215" sldId="367"/>
            <ac:spMk id="21" creationId="{9209EF8E-2DDD-4AD5-A388-A276B1F8E8B7}"/>
          </ac:spMkLst>
        </pc:spChg>
        <pc:spChg chg="mod">
          <ac:chgData name="Ho, Edwin (Allianz SE Singapore Branch)" userId="3fed6b31-4da3-425b-8cfe-51485ecfeec9" providerId="ADAL" clId="{CBF448B6-8C64-4DB2-A39A-ABBA1DF6B764}" dt="2023-04-06T02:35:24.805" v="438" actId="313"/>
          <ac:spMkLst>
            <pc:docMk/>
            <pc:sldMk cId="1536432215" sldId="367"/>
            <ac:spMk id="29" creationId="{C3D4C3F4-574E-452E-A420-BAAF269E0EEF}"/>
          </ac:spMkLst>
        </pc:spChg>
        <pc:graphicFrameChg chg="modGraphic">
          <ac:chgData name="Ho, Edwin (Allianz SE Singapore Branch)" userId="3fed6b31-4da3-425b-8cfe-51485ecfeec9" providerId="ADAL" clId="{CBF448B6-8C64-4DB2-A39A-ABBA1DF6B764}" dt="2023-04-06T02:39:37.406" v="563" actId="20577"/>
          <ac:graphicFrameMkLst>
            <pc:docMk/>
            <pc:sldMk cId="1536432215" sldId="367"/>
            <ac:graphicFrameMk id="19" creationId="{B849A2D0-0E0C-4B57-8418-BA166A3CE887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C3D90-D258-41E1-BFE3-29A340648A7E}" type="datetimeFigureOut">
              <a:rPr lang="de-DE" smtClean="0"/>
              <a:t>13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E0F7A-EA63-40E1-97FB-D173EE3BA0C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2715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51500" y="0"/>
            <a:ext cx="5868988" cy="6480175"/>
          </a:xfrm>
          <a:solidFill>
            <a:schemeClr val="tx2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3" y="1799999"/>
            <a:ext cx="5075237" cy="2268000"/>
          </a:xfrm>
        </p:spPr>
        <p:txBody>
          <a:bodyPr rIns="216000" anchor="ctr" anchorCtr="0"/>
          <a:lstStyle>
            <a:lvl1pPr algn="l">
              <a:lnSpc>
                <a:spcPct val="80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13" y="4536000"/>
            <a:ext cx="5075237" cy="531099"/>
          </a:xfrm>
        </p:spPr>
        <p:txBody>
          <a:bodyPr rIns="216000"/>
          <a:lstStyle>
            <a:lvl1pPr marL="0" indent="0" algn="l">
              <a:buNone/>
              <a:defRPr sz="15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314" y="5760000"/>
            <a:ext cx="1547812" cy="3600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CED49C62-4C22-4829-ACC8-9191840D3A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32026" y="5760000"/>
            <a:ext cx="1547812" cy="360000"/>
          </a:xfrm>
        </p:spPr>
        <p:txBody>
          <a:bodyPr anchor="b" anchorCtr="0"/>
          <a:lstStyle>
            <a:lvl1pPr>
              <a:defRPr sz="750"/>
            </a:lvl1pPr>
          </a:lstStyle>
          <a:p>
            <a:pPr lvl="0"/>
            <a:r>
              <a:rPr lang="de-DE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2636316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Key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0488" cy="648017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F37F0F-CC12-4317-9811-C30269EDD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9577E3-FEC7-432A-BEA6-FED227457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8000" y="3528000"/>
            <a:ext cx="5544000" cy="2125088"/>
          </a:xfrm>
        </p:spPr>
        <p:txBody>
          <a:bodyPr/>
          <a:lstStyle>
            <a:lvl1pPr>
              <a:lnSpc>
                <a:spcPct val="80000"/>
              </a:lnSpc>
              <a:defRPr sz="4700">
                <a:solidFill>
                  <a:schemeClr val="tx1"/>
                </a:solidFill>
              </a:defRPr>
            </a:lvl1pPr>
            <a:lvl2pPr algn="r">
              <a:lnSpc>
                <a:spcPct val="80000"/>
              </a:lnSpc>
              <a:defRPr sz="47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55263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Chapter Divi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16000" y="1296000"/>
            <a:ext cx="12096000" cy="2520000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18900">
                <a:solidFill>
                  <a:schemeClr val="bg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16000" y="3384000"/>
            <a:ext cx="12096000" cy="3384549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189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C5BE87-8858-4487-A7B7-4B925CB9F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26D94C-7A9E-4443-A1F8-19DBCAF0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61BDC56-BD94-4C43-90E8-CBB9A53F2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69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Chapter Divider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2" y="1692000"/>
            <a:ext cx="10367963" cy="1584000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9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8763" y="3168000"/>
            <a:ext cx="6767512" cy="1584000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94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8464" y="468313"/>
            <a:ext cx="1547812" cy="1223687"/>
          </a:xfrm>
        </p:spPr>
        <p:txBody>
          <a:bodyPr anchor="t" anchorCtr="0"/>
          <a:lstStyle>
            <a:lvl1pPr algn="r">
              <a:lnSpc>
                <a:spcPct val="80000"/>
              </a:lnSpc>
              <a:defRPr sz="47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30324D-388D-4C97-AE26-194C8D2A9E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070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Chapter Divider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12" y="1692000"/>
            <a:ext cx="10367963" cy="1584000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94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8763" y="3168000"/>
            <a:ext cx="6767512" cy="1584000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9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8464" y="468313"/>
            <a:ext cx="1547812" cy="1223687"/>
          </a:xfrm>
        </p:spPr>
        <p:txBody>
          <a:bodyPr anchor="t" anchorCtr="0"/>
          <a:lstStyle>
            <a:lvl1pPr algn="r">
              <a:lnSpc>
                <a:spcPct val="80000"/>
              </a:lnSpc>
              <a:defRPr sz="47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CFDCE14-724D-49F7-8BAD-435E83269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765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8315" y="2268538"/>
            <a:ext cx="3311524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5738" y="2268538"/>
            <a:ext cx="3313112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AC653B4F-70E3-43C6-9A6A-30D34B126E8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524750" y="2268000"/>
            <a:ext cx="3311525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EED9CC3-FB9A-433A-B0C4-CCC2B5C9EF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DA8F77-D054-4725-9E94-DAAB8C08F0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8D8D1-129B-451D-A656-331AE3E87D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694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16000" y="1692000"/>
            <a:ext cx="11736000" cy="1584000"/>
          </a:xfrm>
        </p:spPr>
        <p:txBody>
          <a:bodyPr rIns="216000" anchor="b" anchorCtr="0"/>
          <a:lstStyle>
            <a:lvl1pPr algn="l">
              <a:lnSpc>
                <a:spcPct val="80000"/>
              </a:lnSpc>
              <a:defRPr sz="12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" y="3168000"/>
            <a:ext cx="11880000" cy="1584000"/>
          </a:xfrm>
        </p:spPr>
        <p:txBody>
          <a:bodyPr rIns="216000"/>
          <a:lstStyle>
            <a:lvl1pPr marL="0" indent="0" algn="r">
              <a:lnSpc>
                <a:spcPct val="80000"/>
              </a:lnSpc>
              <a:buNone/>
              <a:defRPr sz="122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312" y="5760000"/>
            <a:ext cx="5183187" cy="360000"/>
          </a:xfrm>
        </p:spPr>
        <p:txBody>
          <a:bodyPr anchor="b" anchorCtr="0"/>
          <a:lstStyle>
            <a:lvl1pPr>
              <a:lnSpc>
                <a:spcPct val="100000"/>
              </a:lnSpc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1558217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C7B7FF-9A37-439A-9428-51EF01353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13B6A4-8638-4E3B-9F05-55866D87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C0E379-F9CC-4794-962C-33148E5C7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69539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8314" y="2268538"/>
            <a:ext cx="5075236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61039" y="2268538"/>
            <a:ext cx="5075236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3871759D-1483-4B12-A222-90C19F204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36FFF93-5CB5-4BD1-B035-C1234D6E6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3D4074F-A8C9-4F58-86BF-73ADF6ECB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330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C99564-206A-4E78-879E-461DE1C1E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6CE44-58CD-4A81-8691-BCFF76116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C3DA5C-4C9C-4ACC-A420-FC8EA23DD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198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144D67-8CAD-43A4-B13B-25607946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21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C7B7FF-9A37-439A-9428-51EF01353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13B6A4-8638-4E3B-9F05-55866D87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C0E379-F9CC-4794-962C-33148E5C7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1276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A3795C5-4CD6-4FB0-947E-2352201729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178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Text+Fond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1152524"/>
            <a:ext cx="3311524" cy="45005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95738" y="1152525"/>
            <a:ext cx="6840537" cy="4500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7B125DD-B218-4B65-A292-A67AEC69AB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0E4D6E-27A0-4B8A-8544-9BB76F9CE2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E3945F-1854-4B62-BEAE-A859F45E3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16819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Quot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8313" y="1368425"/>
            <a:ext cx="10367962" cy="4284663"/>
          </a:xfrm>
        </p:spPr>
        <p:txBody>
          <a:bodyPr/>
          <a:lstStyle>
            <a:lvl1pPr>
              <a:lnSpc>
                <a:spcPct val="80000"/>
              </a:lnSpc>
              <a:spcAft>
                <a:spcPts val="2400"/>
              </a:spcAft>
              <a:defRPr sz="47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C5EB96C-1978-4B37-B940-72FCA15AA2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A316743-3033-4FC9-8ADF-C75E03C180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-144000"/>
            <a:ext cx="1044000" cy="8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963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Chapter Divider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16000" y="1296000"/>
            <a:ext cx="12096000" cy="2520000"/>
          </a:xfrm>
        </p:spPr>
        <p:txBody>
          <a:bodyPr rIns="216000" anchor="b" anchorCtr="0"/>
          <a:lstStyle>
            <a:lvl1pPr algn="r">
              <a:lnSpc>
                <a:spcPct val="80000"/>
              </a:lnSpc>
              <a:defRPr sz="18900">
                <a:solidFill>
                  <a:schemeClr val="tx1"/>
                </a:solidFill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16000" y="3384000"/>
            <a:ext cx="12096000" cy="3384549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189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C5BE87-8858-4487-A7B7-4B925CB9F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26D94C-7A9E-4443-A1F8-19DBCAF0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ED41466-DBEC-42EF-BA33-38FB35FBA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0650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8315" y="2268538"/>
            <a:ext cx="3311524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95738" y="2268538"/>
            <a:ext cx="3311524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AC653B4F-70E3-43C6-9A6A-30D34B126E8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524750" y="2268000"/>
            <a:ext cx="3311524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EED9CC3-FB9A-433A-B0C4-CCC2B5C9EF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DA8F77-D054-4725-9E94-DAAB8C08F0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8D8D1-129B-451D-A656-331AE3E87D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1385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8314" y="2268538"/>
            <a:ext cx="5075236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51734" y="2268538"/>
            <a:ext cx="5075237" cy="33845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3871759D-1483-4B12-A222-90C19F204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36FFF93-5CB5-4BD1-B035-C1234D6E6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3D4074F-A8C9-4F58-86BF-73ADF6ECB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966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7C99564-206A-4E78-879E-461DE1C1E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E6CE44-58CD-4A81-8691-BCFF76116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C3DA5C-4C9C-4ACC-A420-FC8EA23DD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0606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144D67-8CAD-43A4-B13B-25607946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970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+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144D67-8CAD-43A4-B13B-256079466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opline goes her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74275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74F1EA0-7738-46BE-A0A5-83AD2F0E50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468313"/>
            <a:ext cx="1944000" cy="48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406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Z Blank without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790E4B-B7EA-42D3-8131-523E32566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4BD1200-5847-478B-A5E7-429A56DAB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915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C7B7FF-9A37-439A-9428-51EF01353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C0E379-F9CC-4794-962C-33148E5C7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313" y="-144000"/>
            <a:ext cx="1044000" cy="885704"/>
          </a:xfrm>
          <a:prstGeom prst="rect">
            <a:avLst/>
          </a:prstGeom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A1DB0DDD-4B70-4A6A-9137-29788C24289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8313" y="1368425"/>
            <a:ext cx="10367962" cy="4284663"/>
          </a:xfrm>
        </p:spPr>
        <p:txBody>
          <a:bodyPr/>
          <a:lstStyle>
            <a:lvl1pPr>
              <a:lnSpc>
                <a:spcPct val="80000"/>
              </a:lnSpc>
              <a:spcAft>
                <a:spcPts val="2400"/>
              </a:spcAft>
              <a:defRPr sz="4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01692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41D929-E418-4954-9E1C-B3396E7CB7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9183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41D929-E418-4954-9E1C-B3396E7C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1152524"/>
            <a:ext cx="1036796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4" y="2268538"/>
            <a:ext cx="10367961" cy="33845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 nicht verwend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011674-EBDC-44CC-9043-F666555AC2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-5400000">
            <a:off x="9594058" y="3726657"/>
            <a:ext cx="3384550" cy="468312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3" y="468000"/>
            <a:ext cx="5075237" cy="2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2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FEBF46-B211-4AF6-9DBD-FCB5138157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2174" y="5653089"/>
            <a:ext cx="468313" cy="827086"/>
          </a:xfrm>
          <a:prstGeom prst="rect">
            <a:avLst/>
          </a:prstGeom>
        </p:spPr>
        <p:txBody>
          <a:bodyPr vert="horz" lIns="7200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bg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MSIPCMContentMarking" descr="{&quot;HashCode&quot;:417909460,&quot;Placement&quot;:&quot;Header&quot;,&quot;Top&quot;:0.0,&quot;Left&quot;:426.85788,&quot;SlideWidth&quot;:907,&quot;SlideHeight&quot;:510}">
            <a:extLst>
              <a:ext uri="{FF2B5EF4-FFF2-40B4-BE49-F238E27FC236}">
                <a16:creationId xmlns:a16="http://schemas.microsoft.com/office/drawing/2014/main" id="{8C7AF195-85D4-4E24-B4F6-02823BF6C42F}"/>
              </a:ext>
            </a:extLst>
          </p:cNvPr>
          <p:cNvSpPr txBox="1"/>
          <p:nvPr userDrawn="1"/>
        </p:nvSpPr>
        <p:spPr>
          <a:xfrm>
            <a:off x="5421095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SG" sz="1000" b="1" spc="1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712950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84" r:id="rId6"/>
    <p:sldLayoutId id="2147483686" r:id="rId7"/>
    <p:sldLayoutId id="2147483687" r:id="rId8"/>
    <p:sldLayoutId id="2147483688" r:id="rId9"/>
    <p:sldLayoutId id="2147483661" r:id="rId10"/>
    <p:sldLayoutId id="2147483689" r:id="rId11"/>
    <p:sldLayoutId id="2147483690" r:id="rId12"/>
    <p:sldLayoutId id="2147483665" r:id="rId13"/>
    <p:sldLayoutId id="2147483663" r:id="rId14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7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bg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500" kern="1200">
          <a:solidFill>
            <a:schemeClr val="bg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36000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5" userDrawn="1">
          <p15:clr>
            <a:srgbClr val="F26B43"/>
          </p15:clr>
        </p15:guide>
        <p15:guide id="2" pos="6826" userDrawn="1">
          <p15:clr>
            <a:srgbClr val="F26B43"/>
          </p15:clr>
        </p15:guide>
        <p15:guide id="3" orient="horz" pos="295" userDrawn="1">
          <p15:clr>
            <a:srgbClr val="F26B43"/>
          </p15:clr>
        </p15:guide>
        <p15:guide id="6" orient="horz" pos="3561" userDrawn="1">
          <p15:clr>
            <a:srgbClr val="F26B43"/>
          </p15:clr>
        </p15:guide>
        <p15:guide id="9" pos="1270" userDrawn="1">
          <p15:clr>
            <a:srgbClr val="F26B43"/>
          </p15:clr>
        </p15:guide>
        <p15:guide id="10" pos="1406" userDrawn="1">
          <p15:clr>
            <a:srgbClr val="F26B43"/>
          </p15:clr>
        </p15:guide>
        <p15:guide id="11" pos="2381" userDrawn="1">
          <p15:clr>
            <a:srgbClr val="F26B43"/>
          </p15:clr>
        </p15:guide>
        <p15:guide id="12" pos="2517" userDrawn="1">
          <p15:clr>
            <a:srgbClr val="F26B43"/>
          </p15:clr>
        </p15:guide>
        <p15:guide id="13" pos="3492" userDrawn="1">
          <p15:clr>
            <a:srgbClr val="F26B43"/>
          </p15:clr>
        </p15:guide>
        <p15:guide id="14" pos="3629" userDrawn="1">
          <p15:clr>
            <a:srgbClr val="F26B43"/>
          </p15:clr>
        </p15:guide>
        <p15:guide id="15" pos="4604" userDrawn="1">
          <p15:clr>
            <a:srgbClr val="F26B43"/>
          </p15:clr>
        </p15:guide>
        <p15:guide id="16" pos="4740" userDrawn="1">
          <p15:clr>
            <a:srgbClr val="F26B43"/>
          </p15:clr>
        </p15:guide>
        <p15:guide id="17" pos="5715" userDrawn="1">
          <p15:clr>
            <a:srgbClr val="F26B43"/>
          </p15:clr>
        </p15:guide>
        <p15:guide id="18" pos="5851" userDrawn="1">
          <p15:clr>
            <a:srgbClr val="F26B43"/>
          </p15:clr>
        </p15:guide>
        <p15:guide id="19" orient="horz" pos="726" userDrawn="1">
          <p15:clr>
            <a:srgbClr val="F26B43"/>
          </p15:clr>
        </p15:guide>
        <p15:guide id="20" orient="horz" pos="862" userDrawn="1">
          <p15:clr>
            <a:srgbClr val="F26B43"/>
          </p15:clr>
        </p15:guide>
        <p15:guide id="21" orient="horz" pos="1293" userDrawn="1">
          <p15:clr>
            <a:srgbClr val="F26B43"/>
          </p15:clr>
        </p15:guide>
        <p15:guide id="22" orient="horz" pos="142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7462B3-CE6D-44E1-942C-4D73FCA9CE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5448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7462B3-CE6D-44E1-942C-4D73FCA9C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1152524"/>
            <a:ext cx="1036796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4" y="2268538"/>
            <a:ext cx="10367962" cy="33845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 nicht verwend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011674-EBDC-44CC-9043-F666555AC2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-5400000">
            <a:off x="9594058" y="3726657"/>
            <a:ext cx="3384550" cy="468312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r>
              <a:rPr lang="de-DE"/>
              <a:t>© Copyright Allianz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3" y="468000"/>
            <a:ext cx="5075237" cy="2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200" b="1" cap="all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FEBF46-B211-4AF6-9DBD-FCB5138157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2174" y="5653089"/>
            <a:ext cx="468313" cy="827086"/>
          </a:xfrm>
          <a:prstGeom prst="rect">
            <a:avLst/>
          </a:prstGeom>
        </p:spPr>
        <p:txBody>
          <a:bodyPr vert="horz" lIns="7200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fld id="{0F96B16C-3F5F-44BC-AFCC-8CBCBD90898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MSIPCMContentMarking" descr="{&quot;HashCode&quot;:417909460,&quot;Placement&quot;:&quot;Header&quot;,&quot;Top&quot;:0.0,&quot;Left&quot;:426.85788,&quot;SlideWidth&quot;:907,&quot;SlideHeight&quot;:510}">
            <a:extLst>
              <a:ext uri="{FF2B5EF4-FFF2-40B4-BE49-F238E27FC236}">
                <a16:creationId xmlns:a16="http://schemas.microsoft.com/office/drawing/2014/main" id="{E35DC347-8422-4529-AF80-C5EEA384B480}"/>
              </a:ext>
            </a:extLst>
          </p:cNvPr>
          <p:cNvSpPr txBox="1"/>
          <p:nvPr userDrawn="1"/>
        </p:nvSpPr>
        <p:spPr>
          <a:xfrm>
            <a:off x="5421095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SG" sz="1000" b="1" spc="1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59715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3" r:id="rId2"/>
    <p:sldLayoutId id="2147483678" r:id="rId3"/>
    <p:sldLayoutId id="2147483681" r:id="rId4"/>
    <p:sldLayoutId id="2147483683" r:id="rId5"/>
    <p:sldLayoutId id="2147483685" r:id="rId6"/>
    <p:sldLayoutId id="2147483671" r:id="rId7"/>
    <p:sldLayoutId id="2147483672" r:id="rId8"/>
    <p:sldLayoutId id="2147483675" r:id="rId9"/>
    <p:sldLayoutId id="2147483679" r:id="rId10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700" kern="1200">
          <a:solidFill>
            <a:schemeClr val="tx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5">
          <p15:clr>
            <a:srgbClr val="F26B43"/>
          </p15:clr>
        </p15:guide>
        <p15:guide id="2" pos="6826" userDrawn="1">
          <p15:clr>
            <a:srgbClr val="F26B43"/>
          </p15:clr>
        </p15:guide>
        <p15:guide id="3" orient="horz" pos="295">
          <p15:clr>
            <a:srgbClr val="F26B43"/>
          </p15:clr>
        </p15:guide>
        <p15:guide id="6" orient="horz" pos="3561">
          <p15:clr>
            <a:srgbClr val="F26B43"/>
          </p15:clr>
        </p15:guide>
        <p15:guide id="9" pos="1270" userDrawn="1">
          <p15:clr>
            <a:srgbClr val="F26B43"/>
          </p15:clr>
        </p15:guide>
        <p15:guide id="10" pos="1406" userDrawn="1">
          <p15:clr>
            <a:srgbClr val="F26B43"/>
          </p15:clr>
        </p15:guide>
        <p15:guide id="11" pos="2381" userDrawn="1">
          <p15:clr>
            <a:srgbClr val="F26B43"/>
          </p15:clr>
        </p15:guide>
        <p15:guide id="12" pos="2517" userDrawn="1">
          <p15:clr>
            <a:srgbClr val="F26B43"/>
          </p15:clr>
        </p15:guide>
        <p15:guide id="13" pos="3492" userDrawn="1">
          <p15:clr>
            <a:srgbClr val="F26B43"/>
          </p15:clr>
        </p15:guide>
        <p15:guide id="14" pos="3629" userDrawn="1">
          <p15:clr>
            <a:srgbClr val="F26B43"/>
          </p15:clr>
        </p15:guide>
        <p15:guide id="15" pos="4604" userDrawn="1">
          <p15:clr>
            <a:srgbClr val="F26B43"/>
          </p15:clr>
        </p15:guide>
        <p15:guide id="16" pos="4740" userDrawn="1">
          <p15:clr>
            <a:srgbClr val="F26B43"/>
          </p15:clr>
        </p15:guide>
        <p15:guide id="17" pos="5715" userDrawn="1">
          <p15:clr>
            <a:srgbClr val="F26B43"/>
          </p15:clr>
        </p15:guide>
        <p15:guide id="18" pos="5851" userDrawn="1">
          <p15:clr>
            <a:srgbClr val="F26B43"/>
          </p15:clr>
        </p15:guide>
        <p15:guide id="19" orient="horz" pos="726">
          <p15:clr>
            <a:srgbClr val="F26B43"/>
          </p15:clr>
        </p15:guide>
        <p15:guide id="20" orient="horz" pos="862">
          <p15:clr>
            <a:srgbClr val="F26B43"/>
          </p15:clr>
        </p15:guide>
        <p15:guide id="21" orient="horz" pos="1293">
          <p15:clr>
            <a:srgbClr val="F26B43"/>
          </p15:clr>
        </p15:guide>
        <p15:guide id="22" orient="horz" pos="14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mp.allianz.net/display/REAC/01-Generic+Architecture+Design+Document+Templat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BA27A1-CE8D-4F6D-85D4-08FBFBD710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BA27A1-CE8D-4F6D-85D4-08FBFBD710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AD26D70-5616-4C05-9FA2-2E5524608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798" y="1028794"/>
            <a:ext cx="3153510" cy="2304955"/>
          </a:xfrm>
        </p:spPr>
        <p:txBody>
          <a:bodyPr vert="horz"/>
          <a:lstStyle/>
          <a:p>
            <a:r>
              <a:rPr lang="de-DE" sz="3200" dirty="0"/>
              <a:t>&lt;OE&gt;</a:t>
            </a:r>
            <a:br>
              <a:rPr lang="de-DE" sz="3200" dirty="0"/>
            </a:br>
            <a:r>
              <a:rPr lang="de-DE" sz="3200" dirty="0"/>
              <a:t>Cloud Adoption: </a:t>
            </a:r>
            <a:br>
              <a:rPr lang="de-DE" sz="3200" dirty="0"/>
            </a:br>
            <a:r>
              <a:rPr lang="de-DE" sz="3200" dirty="0"/>
              <a:t>Lift &amp; Shift</a:t>
            </a:r>
            <a:endParaRPr lang="de-DE" sz="1600" dirty="0">
              <a:solidFill>
                <a:srgbClr val="13A0D3"/>
              </a:solidFill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640EE29-55AD-44B8-8A13-3651BA1F87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515" y="6202836"/>
            <a:ext cx="1547812" cy="254648"/>
          </a:xfrm>
        </p:spPr>
        <p:txBody>
          <a:bodyPr/>
          <a:lstStyle/>
          <a:p>
            <a:r>
              <a:rPr lang="de-DE" dirty="0"/>
              <a:t>Filename</a:t>
            </a:r>
          </a:p>
          <a:p>
            <a:r>
              <a:rPr lang="de-DE" dirty="0"/>
              <a:t>Department |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7288FB4-8D6E-4564-A0F7-0020F4D3B7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94227" y="6300279"/>
            <a:ext cx="1547812" cy="147679"/>
          </a:xfrm>
        </p:spPr>
        <p:txBody>
          <a:bodyPr/>
          <a:lstStyle/>
          <a:p>
            <a:r>
              <a:rPr lang="de-DE" dirty="0"/>
              <a:t>&lt;OE&gt; </a:t>
            </a:r>
            <a:r>
              <a:rPr lang="de-DE" dirty="0" err="1"/>
              <a:t>July</a:t>
            </a:r>
            <a:r>
              <a:rPr lang="de-DE"/>
              <a:t> 19, </a:t>
            </a:r>
            <a:r>
              <a:rPr lang="de-DE" dirty="0"/>
              <a:t>202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CF8AED-5393-4FC0-AAA4-93A51DBF2EA4}"/>
              </a:ext>
            </a:extLst>
          </p:cNvPr>
          <p:cNvSpPr/>
          <p:nvPr/>
        </p:nvSpPr>
        <p:spPr>
          <a:xfrm>
            <a:off x="103598" y="3299133"/>
            <a:ext cx="250126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>
                <a:solidFill>
                  <a:srgbClr val="13A0D3"/>
                </a:solidFill>
              </a:rPr>
              <a:t>Architecture Review Board</a:t>
            </a:r>
          </a:p>
          <a:p>
            <a:endParaRPr lang="de-DE" sz="1600" dirty="0">
              <a:solidFill>
                <a:srgbClr val="13A0D3"/>
              </a:solidFill>
            </a:endParaRPr>
          </a:p>
          <a:p>
            <a:r>
              <a:rPr lang="de-DE" sz="1600" dirty="0">
                <a:solidFill>
                  <a:srgbClr val="13A0D3"/>
                </a:solidFill>
              </a:rPr>
              <a:t>&lt;OE&gt; / Country / Date </a:t>
            </a:r>
            <a:endParaRPr lang="en-SG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F80401-C920-4C37-808E-C54824189C91}"/>
              </a:ext>
            </a:extLst>
          </p:cNvPr>
          <p:cNvSpPr txBox="1">
            <a:spLocks/>
          </p:cNvSpPr>
          <p:nvPr/>
        </p:nvSpPr>
        <p:spPr>
          <a:xfrm>
            <a:off x="179798" y="4355064"/>
            <a:ext cx="2873727" cy="147678"/>
          </a:xfrm>
          <a:prstGeom prst="rect">
            <a:avLst/>
          </a:prstGeom>
          <a:solidFill>
            <a:srgbClr val="F62459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80975" marR="0" lvl="0" indent="0" algn="ctr" defTabSz="12175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n-US" sz="1200" b="1" i="1" kern="0" dirty="0">
                <a:cs typeface="Calibri" panose="020F0502020204030204" pitchFamily="34" charset="0"/>
              </a:rPr>
              <a:t>TO BE COMPLETED BY ARB TEAM</a:t>
            </a:r>
            <a:endParaRPr kumimoji="0" lang="en-US" sz="12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6E6F7E-F168-4D1A-8975-A707DB2C8561}"/>
              </a:ext>
            </a:extLst>
          </p:cNvPr>
          <p:cNvSpPr txBox="1">
            <a:spLocks/>
          </p:cNvSpPr>
          <p:nvPr/>
        </p:nvSpPr>
        <p:spPr>
          <a:xfrm>
            <a:off x="3314258" y="52428"/>
            <a:ext cx="4166574" cy="179301"/>
          </a:xfrm>
          <a:prstGeom prst="rect">
            <a:avLst/>
          </a:prstGeom>
          <a:solidFill>
            <a:srgbClr val="A6276F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80975" marR="0" lvl="0" indent="0" algn="ctr" defTabSz="12175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TO BE COMPLETED BY PROJECT TEA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07355A-6618-4E75-8F5C-06A0AE1C1B22}"/>
              </a:ext>
            </a:extLst>
          </p:cNvPr>
          <p:cNvSpPr txBox="1">
            <a:spLocks/>
          </p:cNvSpPr>
          <p:nvPr/>
        </p:nvSpPr>
        <p:spPr>
          <a:xfrm>
            <a:off x="7502645" y="52428"/>
            <a:ext cx="3975434" cy="179301"/>
          </a:xfrm>
          <a:prstGeom prst="rect">
            <a:avLst/>
          </a:prstGeom>
          <a:solidFill>
            <a:srgbClr val="00908D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80975" marR="0" lvl="0" indent="0" algn="ctr" defTabSz="121754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n-US" sz="1200" b="1" i="1" kern="0" dirty="0">
                <a:cs typeface="Calibri" panose="020F0502020204030204" pitchFamily="34" charset="0"/>
              </a:rPr>
              <a:t>TO BE COMPLETED BY ENTERPRISE ARCHITECT</a:t>
            </a:r>
            <a:endParaRPr kumimoji="0" lang="en-US" sz="12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Calibri" panose="020F0502020204030204" pitchFamily="34" charset="0"/>
            </a:endParaRPr>
          </a:p>
        </p:txBody>
      </p:sp>
      <p:graphicFrame>
        <p:nvGraphicFramePr>
          <p:cNvPr id="20" name="Tabellenplatzhalter 10">
            <a:extLst>
              <a:ext uri="{FF2B5EF4-FFF2-40B4-BE49-F238E27FC236}">
                <a16:creationId xmlns:a16="http://schemas.microsoft.com/office/drawing/2014/main" id="{9B111535-4B7A-4A78-9402-4CCFD724CA2E}"/>
              </a:ext>
            </a:extLst>
          </p:cNvPr>
          <p:cNvGraphicFramePr>
            <a:graphicFrameLocks/>
          </p:cNvGraphicFramePr>
          <p:nvPr/>
        </p:nvGraphicFramePr>
        <p:xfrm>
          <a:off x="3333308" y="264645"/>
          <a:ext cx="4139107" cy="6083821"/>
        </p:xfrm>
        <a:graphic>
          <a:graphicData uri="http://schemas.openxmlformats.org/drawingml/2006/table">
            <a:tbl>
              <a:tblPr/>
              <a:tblGrid>
                <a:gridCol w="18167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8320">
                  <a:extLst>
                    <a:ext uri="{9D8B030D-6E8A-4147-A177-3AD203B41FA5}">
                      <a16:colId xmlns:a16="http://schemas.microsoft.com/office/drawing/2014/main" val="1821754947"/>
                    </a:ext>
                  </a:extLst>
                </a:gridCol>
                <a:gridCol w="1174045">
                  <a:extLst>
                    <a:ext uri="{9D8B030D-6E8A-4147-A177-3AD203B41FA5}">
                      <a16:colId xmlns:a16="http://schemas.microsoft.com/office/drawing/2014/main" val="1015062634"/>
                    </a:ext>
                  </a:extLst>
                </a:gridCol>
              </a:tblGrid>
              <a:tr h="925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STAKEHOLDER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CIO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Project Manager (PM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Business Owner (BO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ISO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Others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Xxx (CIO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Xxx (PM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Xxx (BO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Xxx (ISO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Xxx (CFO) etc.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11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YPES OF PROJECT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SG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Detoxification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SG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Regulatory</a:t>
                      </a:r>
                    </a:p>
                    <a:p>
                      <a:pPr marL="344488" lvl="1" indent="-17145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SG" sz="900" dirty="0">
                          <a:solidFill>
                            <a:srgbClr val="122B54"/>
                          </a:solidFill>
                          <a:latin typeface="+mn-lt"/>
                        </a:rPr>
                        <a:t>Specify Regulator</a:t>
                      </a:r>
                    </a:p>
                    <a:p>
                      <a:pPr marL="171450" lvl="0" indent="-171450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New Functionalities</a:t>
                      </a:r>
                    </a:p>
                    <a:p>
                      <a:pPr marL="171450" lvl="0" indent="-171450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New Products Offering</a:t>
                      </a:r>
                      <a:endParaRPr lang="en-SG" sz="9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34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VENDOR NAME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kern="1200" noProof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Supplier Nam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Allianz Technology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kern="1200" noProof="0" dirty="0">
                          <a:solidFill>
                            <a:srgbClr val="13A0D3"/>
                          </a:solidFill>
                          <a:latin typeface="+mn-lt"/>
                          <a:ea typeface="+mn-ea"/>
                          <a:cs typeface="+mn-cs"/>
                        </a:rPr>
                        <a:t>(Please include Contact Perso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kern="1200" noProof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310564"/>
                  </a:ext>
                </a:extLst>
              </a:tr>
              <a:tr h="1051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IT</a:t>
                      </a:r>
                      <a:r>
                        <a:rPr lang="en-GB" sz="11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REPORTING ID</a:t>
                      </a:r>
                      <a:endParaRPr lang="en-GB" sz="1100" b="1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900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S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71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PROJECT</a:t>
                      </a:r>
                      <a:r>
                        <a:rPr lang="en-GB" sz="11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DATES</a:t>
                      </a:r>
                      <a:endParaRPr lang="en-GB" sz="1100" b="1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Sta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(dd/mm/</a:t>
                      </a:r>
                      <a:r>
                        <a:rPr lang="en-GB" sz="900" noProof="0" dirty="0" err="1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yyyy</a:t>
                      </a: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En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en-GB" sz="900" noProof="0" dirty="0" err="1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d</a:t>
                      </a: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/mm/</a:t>
                      </a:r>
                      <a:r>
                        <a:rPr lang="en-GB" sz="900" noProof="0" dirty="0" err="1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yyyy</a:t>
                      </a: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667917"/>
                  </a:ext>
                </a:extLst>
              </a:tr>
              <a:tr h="1034757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PROJECT</a:t>
                      </a:r>
                      <a:r>
                        <a:rPr lang="en-GB" sz="11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IT SPEND</a:t>
                      </a:r>
                    </a:p>
                    <a:p>
                      <a:r>
                        <a:rPr lang="en-GB" sz="11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for Current Year</a:t>
                      </a:r>
                      <a:endParaRPr lang="en-GB" sz="1050" b="1" baseline="0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LCY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EUR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709944"/>
                  </a:ext>
                </a:extLst>
              </a:tr>
            </a:tbl>
          </a:graphicData>
        </a:graphic>
      </p:graphicFrame>
      <p:graphicFrame>
        <p:nvGraphicFramePr>
          <p:cNvPr id="21" name="Tabellenplatzhalter 10">
            <a:extLst>
              <a:ext uri="{FF2B5EF4-FFF2-40B4-BE49-F238E27FC236}">
                <a16:creationId xmlns:a16="http://schemas.microsoft.com/office/drawing/2014/main" id="{216AF967-7889-4F84-B97B-043765EB34CC}"/>
              </a:ext>
            </a:extLst>
          </p:cNvPr>
          <p:cNvGraphicFramePr>
            <a:graphicFrameLocks/>
          </p:cNvGraphicFramePr>
          <p:nvPr/>
        </p:nvGraphicFramePr>
        <p:xfrm>
          <a:off x="7521695" y="264644"/>
          <a:ext cx="3949228" cy="6083819"/>
        </p:xfrm>
        <a:graphic>
          <a:graphicData uri="http://schemas.openxmlformats.org/drawingml/2006/table">
            <a:tbl>
              <a:tblPr/>
              <a:tblGrid>
                <a:gridCol w="16902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8969">
                  <a:extLst>
                    <a:ext uri="{9D8B030D-6E8A-4147-A177-3AD203B41FA5}">
                      <a16:colId xmlns:a16="http://schemas.microsoft.com/office/drawing/2014/main" val="1821754947"/>
                    </a:ext>
                  </a:extLst>
                </a:gridCol>
              </a:tblGrid>
              <a:tr h="9383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GROUP COMPLIANCE STATU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(in line with GITD</a:t>
                      </a:r>
                      <a:r>
                        <a:rPr lang="en-GB" sz="9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definition</a:t>
                      </a:r>
                      <a:r>
                        <a:rPr lang="en-GB" sz="9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  <a:tabLst>
                          <a:tab pos="173038" algn="l"/>
                        </a:tabLst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Compliant, or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  <a:tabLst>
                          <a:tab pos="173038" algn="l"/>
                        </a:tabLst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Non-Compliant accepted, or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  <a:tabLst>
                          <a:tab pos="173038" algn="l"/>
                        </a:tabLst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Non-Compliant NOT</a:t>
                      </a:r>
                      <a:r>
                        <a:rPr lang="en-US" sz="900" baseline="0" dirty="0">
                          <a:solidFill>
                            <a:srgbClr val="122B54"/>
                          </a:solidFill>
                          <a:latin typeface="+mn-lt"/>
                        </a:rPr>
                        <a:t> </a:t>
                      </a: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accepted, or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  <a:tabLst>
                          <a:tab pos="173038" algn="l"/>
                        </a:tabLst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Not</a:t>
                      </a:r>
                      <a:r>
                        <a:rPr lang="en-US" sz="900" baseline="0" dirty="0">
                          <a:solidFill>
                            <a:srgbClr val="122B54"/>
                          </a:solidFill>
                          <a:latin typeface="+mn-lt"/>
                        </a:rPr>
                        <a:t> applicable</a:t>
                      </a:r>
                      <a:endParaRPr lang="en-US" sz="900" dirty="0">
                        <a:solidFill>
                          <a:srgbClr val="122B54"/>
                        </a:solidFill>
                        <a:latin typeface="+mn-lt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2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ARGET STATU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(in line with GITD</a:t>
                      </a:r>
                      <a:r>
                        <a:rPr lang="en-GB" sz="900" b="1" kern="1200" baseline="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definition</a:t>
                      </a: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Unchanged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Decommissioned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Upgraded-further investment planned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New Application</a:t>
                      </a:r>
                      <a:endParaRPr lang="en-SG" sz="900" dirty="0">
                        <a:solidFill>
                          <a:srgbClr val="122B54"/>
                        </a:solidFill>
                        <a:latin typeface="+mn-lt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79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YPES OF ARCHITECTURE CHANGE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Enhancement (Existing Solution where additional functionalities</a:t>
                      </a:r>
                      <a:r>
                        <a:rPr lang="en-US" sz="900" baseline="0" dirty="0">
                          <a:solidFill>
                            <a:srgbClr val="122B54"/>
                          </a:solidFill>
                          <a:latin typeface="+mn-lt"/>
                        </a:rPr>
                        <a:t> are added)</a:t>
                      </a:r>
                      <a:endParaRPr lang="en-US" sz="900" dirty="0">
                        <a:solidFill>
                          <a:srgbClr val="122B54"/>
                        </a:solidFill>
                        <a:latin typeface="+mn-lt"/>
                      </a:endParaRP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Upgrad</a:t>
                      </a:r>
                      <a:r>
                        <a:rPr lang="en-US" sz="900" baseline="0" dirty="0">
                          <a:solidFill>
                            <a:srgbClr val="122B54"/>
                          </a:solidFill>
                          <a:latin typeface="+mn-lt"/>
                        </a:rPr>
                        <a:t>e H</a:t>
                      </a: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ardware/Software</a:t>
                      </a:r>
                    </a:p>
                    <a:p>
                      <a:pPr marL="173038" indent="-1730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>
                          <a:solidFill>
                            <a:srgbClr val="122B54"/>
                          </a:solidFill>
                          <a:latin typeface="+mn-lt"/>
                        </a:rPr>
                        <a:t>New Solution</a:t>
                      </a:r>
                      <a:endParaRPr lang="en-SG" sz="900" dirty="0">
                        <a:solidFill>
                          <a:srgbClr val="122B54"/>
                        </a:solidFill>
                        <a:latin typeface="+mn-lt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310564"/>
                  </a:ext>
                </a:extLst>
              </a:tr>
              <a:tr h="10453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12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APPLICATION CRITICAL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900" b="1" kern="1200" noProof="0" dirty="0">
                          <a:solidFill>
                            <a:srgbClr val="122B54"/>
                          </a:solidFill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arget System Availability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99.5%</a:t>
                      </a:r>
                    </a:p>
                    <a:p>
                      <a:pPr marL="173038" indent="-173038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Is this a business-critical application based on P&amp;R standards?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7899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r>
                        <a:rPr lang="en-GB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oes this require </a:t>
                      </a:r>
                      <a:r>
                        <a:rPr lang="en-GB" sz="1100" b="1" noProof="0" dirty="0" err="1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evSecOps</a:t>
                      </a:r>
                      <a:r>
                        <a:rPr lang="en-GB" sz="11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Governance Board (DGB) Submission?</a:t>
                      </a:r>
                      <a:endParaRPr lang="en-GB" sz="1100" b="1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173038" indent="-173038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  <a:p>
                      <a:pPr marL="173038" indent="-173038" algn="l" defTabSz="1218926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No and Why?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667917"/>
                  </a:ext>
                </a:extLst>
              </a:tr>
              <a:tr h="1021425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r>
                        <a:rPr lang="en-US" sz="11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GROUP STANDARD APPLIED/TARGET SOLU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rial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(in line with GITD definition)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kern="1200" noProof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+mn-cs"/>
                        </a:rPr>
                        <a:t>*If Non-Group Solution, please define the local solution &amp; reasons for not using Group Solutions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709944"/>
                  </a:ext>
                </a:extLst>
              </a:tr>
            </a:tbl>
          </a:graphicData>
        </a:graphic>
      </p:graphicFrame>
      <p:graphicFrame>
        <p:nvGraphicFramePr>
          <p:cNvPr id="22" name="Tabellenplatzhalter 10">
            <a:extLst>
              <a:ext uri="{FF2B5EF4-FFF2-40B4-BE49-F238E27FC236}">
                <a16:creationId xmlns:a16="http://schemas.microsoft.com/office/drawing/2014/main" id="{CA5FB8D3-F128-43E7-B19A-A98AE64EB61A}"/>
              </a:ext>
            </a:extLst>
          </p:cNvPr>
          <p:cNvGraphicFramePr>
            <a:graphicFrameLocks/>
          </p:cNvGraphicFramePr>
          <p:nvPr/>
        </p:nvGraphicFramePr>
        <p:xfrm>
          <a:off x="184300" y="4543425"/>
          <a:ext cx="2873727" cy="1594077"/>
        </p:xfrm>
        <a:graphic>
          <a:graphicData uri="http://schemas.openxmlformats.org/drawingml/2006/table">
            <a:tbl>
              <a:tblPr/>
              <a:tblGrid>
                <a:gridCol w="13981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3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3246">
                  <a:extLst>
                    <a:ext uri="{9D8B030D-6E8A-4147-A177-3AD203B41FA5}">
                      <a16:colId xmlns:a16="http://schemas.microsoft.com/office/drawing/2014/main" val="1821754947"/>
                    </a:ext>
                  </a:extLst>
                </a:gridCol>
              </a:tblGrid>
              <a:tr h="3148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2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PHASE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34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1200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0" marR="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34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ATE</a:t>
                      </a:r>
                      <a:endParaRPr lang="en-GB" sz="1200" b="1" noProof="0" dirty="0">
                        <a:solidFill>
                          <a:srgbClr val="122B54"/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3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2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Permit to Build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b="1" cap="all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D/MM/YYYY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3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2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Approved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b="1" cap="all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D/MM/YYYY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88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200" b="1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Rejected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365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cap="all" baseline="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noProof="0" dirty="0">
                          <a:solidFill>
                            <a:srgbClr val="122B54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D/MM/YYYY</a:t>
                      </a:r>
                    </a:p>
                  </a:txBody>
                  <a:tcPr marL="216000" marR="21600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DF317525-83B9-41CB-B165-97244BA1F614}"/>
              </a:ext>
            </a:extLst>
          </p:cNvPr>
          <p:cNvSpPr/>
          <p:nvPr/>
        </p:nvSpPr>
        <p:spPr>
          <a:xfrm>
            <a:off x="3244613" y="6349751"/>
            <a:ext cx="8220971" cy="9692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r>
              <a:rPr lang="en-US" sz="900" dirty="0">
                <a:solidFill>
                  <a:srgbClr val="FF0000"/>
                </a:solidFill>
              </a:rPr>
              <a:t>For multi-year projects, ARB submission is required annually</a:t>
            </a:r>
            <a:endParaRPr lang="en-SG" sz="9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4398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Incident</a:t>
            </a:r>
            <a:r>
              <a:rPr lang="de-DE" dirty="0"/>
              <a:t> &amp; SLA Management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209867"/>
              </p:ext>
            </p:extLst>
          </p:nvPr>
        </p:nvGraphicFramePr>
        <p:xfrm>
          <a:off x="8415300" y="525964"/>
          <a:ext cx="3024000" cy="5980722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 Planned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Incident &amp; SLA Management</a:t>
                      </a:r>
                      <a:endParaRPr lang="en-SG" altLang="ko-KR" sz="12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Illustrate Incident &amp; SLA Management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ncident Support Team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ervice Availability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Operation Time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ncident Management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upport Hours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LA Metal Band (where applicable) 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E4335-48E2-4FD8-BDD6-AFBCFB4ECC37}"/>
              </a:ext>
            </a:extLst>
          </p:cNvPr>
          <p:cNvGrpSpPr/>
          <p:nvPr/>
        </p:nvGrpSpPr>
        <p:grpSpPr>
          <a:xfrm>
            <a:off x="-44226" y="10062916"/>
            <a:ext cx="7843634" cy="2147483647"/>
            <a:chOff x="84752" y="2400476"/>
            <a:chExt cx="6254368" cy="2147483647"/>
          </a:xfrm>
        </p:grpSpPr>
        <p:sp>
          <p:nvSpPr>
            <p:cNvPr id="13" name="Rectangle 303">
              <a:extLst>
                <a:ext uri="{FF2B5EF4-FFF2-40B4-BE49-F238E27FC236}">
                  <a16:creationId xmlns:a16="http://schemas.microsoft.com/office/drawing/2014/main" id="{C165817F-A8A1-47DD-9D43-1E1BB391F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938" y="2400476"/>
              <a:ext cx="6130182" cy="246053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62788" tIns="62788" rIns="31395" bIns="62788"/>
            <a:lstStyle>
              <a:lvl1pPr marL="171450" indent="-1714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61993" indent="-161993" defTabSz="981720">
                <a:spcAft>
                  <a:spcPts val="269"/>
                </a:spcAft>
                <a:buClr>
                  <a:srgbClr val="113388"/>
                </a:buClr>
                <a:buFont typeface="Wingdings" pitchFamily="2" charset="2"/>
                <a:buChar char="§"/>
                <a:defRPr/>
              </a:pPr>
              <a:endParaRPr lang="en-US" altLang="de-DE" sz="945" kern="0" dirty="0">
                <a:solidFill>
                  <a:srgbClr val="122B54"/>
                </a:solidFill>
                <a:latin typeface="+mn-l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57DD43A-1F52-4D7B-80F2-CD433B93D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7930" y="2887988"/>
              <a:ext cx="1131587" cy="1222575"/>
            </a:xfrm>
            <a:prstGeom prst="rect">
              <a:avLst/>
            </a:prstGeom>
            <a:solidFill>
              <a:srgbClr val="49648C">
                <a:lumMod val="60000"/>
                <a:lumOff val="40000"/>
              </a:srgbClr>
            </a:soli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lIns="62788" tIns="25116" rIns="62788" bIns="25116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981720">
                <a:defRPr/>
              </a:pPr>
              <a:r>
                <a:rPr lang="en-GB" altLang="en-US" sz="1134" b="1" kern="0" dirty="0">
                  <a:solidFill>
                    <a:prstClr val="white"/>
                  </a:solidFill>
                  <a:latin typeface="+mn-lt"/>
                </a:rPr>
                <a:t>OE Service Desk</a:t>
              </a:r>
            </a:p>
            <a:p>
              <a:pPr algn="ctr" defTabSz="981720">
                <a:defRPr/>
              </a:pPr>
              <a:r>
                <a:rPr lang="en-GB" altLang="en-US" sz="1134" b="1" kern="0" dirty="0">
                  <a:solidFill>
                    <a:prstClr val="white"/>
                  </a:solidFill>
                  <a:latin typeface="+mn-lt"/>
                </a:rPr>
                <a:t>(1</a:t>
              </a:r>
              <a:r>
                <a:rPr lang="en-GB" altLang="en-US" sz="1134" b="1" kern="0" baseline="30000" dirty="0">
                  <a:solidFill>
                    <a:prstClr val="white"/>
                  </a:solidFill>
                  <a:latin typeface="+mn-lt"/>
                </a:rPr>
                <a:t>st</a:t>
              </a:r>
              <a:r>
                <a:rPr lang="en-GB" altLang="en-US" sz="1134" b="1" kern="0" dirty="0">
                  <a:solidFill>
                    <a:prstClr val="white"/>
                  </a:solidFill>
                  <a:latin typeface="+mn-lt"/>
                </a:rPr>
                <a:t> Level)</a:t>
              </a:r>
              <a:endParaRPr lang="en-US" altLang="en-US" sz="1134" b="1" kern="0" dirty="0">
                <a:solidFill>
                  <a:prstClr val="white"/>
                </a:solidFill>
                <a:latin typeface="+mn-l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98998D4-93AE-45FE-A022-2AE4EC488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8209" y="2887988"/>
              <a:ext cx="1138647" cy="1222575"/>
            </a:xfrm>
            <a:prstGeom prst="rect">
              <a:avLst/>
            </a:prstGeom>
            <a:solidFill>
              <a:srgbClr val="49648C">
                <a:lumMod val="60000"/>
                <a:lumOff val="40000"/>
              </a:srgbClr>
            </a:soli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lIns="62788" tIns="25116" rIns="62788" bIns="25116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981720">
                <a:defRPr/>
              </a:pPr>
              <a:r>
                <a:rPr lang="en-US" altLang="en-US" sz="1039" b="1" kern="0" dirty="0">
                  <a:solidFill>
                    <a:srgbClr val="000000"/>
                  </a:solidFill>
                  <a:latin typeface="+mn-lt"/>
                </a:rPr>
                <a:t> </a:t>
              </a: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OE Support Teams</a:t>
              </a:r>
            </a:p>
            <a:p>
              <a:pPr algn="ctr" defTabSz="981720">
                <a:defRPr/>
              </a:pP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(2</a:t>
              </a:r>
              <a:r>
                <a:rPr lang="en-US" altLang="en-US" sz="1039" b="1" kern="0" baseline="30000" dirty="0">
                  <a:solidFill>
                    <a:prstClr val="white"/>
                  </a:solidFill>
                  <a:latin typeface="+mn-lt"/>
                </a:rPr>
                <a:t>nd</a:t>
              </a: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 Level)</a:t>
              </a:r>
            </a:p>
            <a:p>
              <a:pPr algn="ctr" defTabSz="981720">
                <a:defRPr/>
              </a:pPr>
              <a:endParaRPr lang="en-US" altLang="en-US" sz="1039" b="1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" name="AutoShape 6">
              <a:extLst>
                <a:ext uri="{FF2B5EF4-FFF2-40B4-BE49-F238E27FC236}">
                  <a16:creationId xmlns:a16="http://schemas.microsoft.com/office/drawing/2014/main" id="{F4FA031C-54ED-42BD-B8F6-4A58277897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52" y="2147483647"/>
              <a:ext cx="185105" cy="21474836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122B54"/>
                  </a:solidFill>
                  <a:cs typeface="Arial" panose="020B0604020202020204" pitchFamily="34" charset="0"/>
                </a:rPr>
                <a:t>Incident Managemen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2FC2956-9034-415F-81CC-448A0406B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886" y="2675728"/>
              <a:ext cx="1009352" cy="955279"/>
            </a:xfrm>
            <a:prstGeom prst="rect">
              <a:avLst/>
            </a:prstGeom>
            <a:solidFill>
              <a:srgbClr val="49648C">
                <a:lumMod val="60000"/>
                <a:lumOff val="40000"/>
              </a:srgbClr>
            </a:soli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lIns="62788" tIns="25116" rIns="62788" bIns="25116" anchor="t"/>
            <a:lstStyle/>
            <a:p>
              <a:pPr algn="ctr" defTabSz="981720">
                <a:defRPr/>
              </a:pPr>
              <a:r>
                <a:rPr lang="en-US" sz="1134" b="1" kern="0" dirty="0">
                  <a:solidFill>
                    <a:prstClr val="white"/>
                  </a:solidFill>
                  <a:cs typeface="Arial" charset="0"/>
                </a:rPr>
                <a:t>OE</a:t>
              </a:r>
            </a:p>
          </p:txBody>
        </p:sp>
        <p:sp>
          <p:nvSpPr>
            <p:cNvPr id="20" name="AutoShape 6">
              <a:extLst>
                <a:ext uri="{FF2B5EF4-FFF2-40B4-BE49-F238E27FC236}">
                  <a16:creationId xmlns:a16="http://schemas.microsoft.com/office/drawing/2014/main" id="{3D2C3500-E9BC-422D-820B-F799A985E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582" y="2875108"/>
              <a:ext cx="766249" cy="657419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122B54"/>
                  </a:solidFill>
                  <a:cs typeface="Arial" panose="020B0604020202020204" pitchFamily="34" charset="0"/>
                </a:rPr>
                <a:t>User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3F21577-772B-4B29-A36C-51AF3789B3C9}"/>
                </a:ext>
              </a:extLst>
            </p:cNvPr>
            <p:cNvSpPr txBox="1"/>
            <p:nvPr/>
          </p:nvSpPr>
          <p:spPr>
            <a:xfrm>
              <a:off x="1604418" y="2445441"/>
              <a:ext cx="813077" cy="439451"/>
            </a:xfrm>
            <a:prstGeom prst="rect">
              <a:avLst/>
            </a:prstGeom>
            <a:ln>
              <a:noFill/>
            </a:ln>
          </p:spPr>
          <p:txBody>
            <a:bodyPr vert="horz" wrap="square" lIns="68033" tIns="68033" rIns="68033" bIns="68033" rtlCol="0">
              <a:spAutoFit/>
            </a:bodyPr>
            <a:lstStyle/>
            <a:p>
              <a:pPr defTabSz="1151699">
                <a:defRPr/>
              </a:pPr>
              <a:r>
                <a:rPr lang="en-US" sz="600" kern="0" dirty="0">
                  <a:solidFill>
                    <a:srgbClr val="122B54"/>
                  </a:solidFill>
                </a:rPr>
                <a:t>Raise Incident to Service Desk via </a:t>
              </a:r>
              <a:r>
                <a:rPr lang="en-US" sz="600" b="1" kern="0" dirty="0" err="1">
                  <a:solidFill>
                    <a:srgbClr val="122B54"/>
                  </a:solidFill>
                </a:rPr>
                <a:t>MyAllica</a:t>
              </a:r>
              <a:r>
                <a:rPr lang="en-US" sz="600" b="1" kern="0" dirty="0">
                  <a:solidFill>
                    <a:srgbClr val="122B54"/>
                  </a:solidFill>
                </a:rPr>
                <a:t>/Phone/Email</a:t>
              </a:r>
            </a:p>
          </p:txBody>
        </p:sp>
        <p:sp>
          <p:nvSpPr>
            <p:cNvPr id="22" name="AutoShape 6">
              <a:extLst>
                <a:ext uri="{FF2B5EF4-FFF2-40B4-BE49-F238E27FC236}">
                  <a16:creationId xmlns:a16="http://schemas.microsoft.com/office/drawing/2014/main" id="{C2D4002A-7ACC-4734-BBE5-7205DFA8F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3555" y="3359154"/>
              <a:ext cx="654737" cy="262332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ServiceNow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E57F617-E559-4FCC-ACFD-160F90E74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886" y="3810786"/>
              <a:ext cx="1009351" cy="955279"/>
            </a:xfrm>
            <a:prstGeom prst="rect">
              <a:avLst/>
            </a:prstGeom>
            <a:solidFill>
              <a:srgbClr val="49648C">
                <a:lumMod val="60000"/>
                <a:lumOff val="40000"/>
              </a:srgbClr>
            </a:soli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lIns="62788" tIns="25116" rIns="62788" bIns="25116" anchor="t"/>
            <a:lstStyle/>
            <a:p>
              <a:pPr algn="ctr" defTabSz="981720">
                <a:defRPr/>
              </a:pPr>
              <a:r>
                <a:rPr lang="en-US" sz="1134" b="1" kern="0" dirty="0">
                  <a:solidFill>
                    <a:prstClr val="white"/>
                  </a:solidFill>
                  <a:cs typeface="Arial" charset="0"/>
                </a:rPr>
                <a:t>Application System</a:t>
              </a:r>
            </a:p>
          </p:txBody>
        </p:sp>
        <p:sp>
          <p:nvSpPr>
            <p:cNvPr id="30" name="AutoShape 6">
              <a:extLst>
                <a:ext uri="{FF2B5EF4-FFF2-40B4-BE49-F238E27FC236}">
                  <a16:creationId xmlns:a16="http://schemas.microsoft.com/office/drawing/2014/main" id="{6FE3B176-2086-468F-A9A5-4B90E8C91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191" y="4291416"/>
              <a:ext cx="616741" cy="29382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122B54"/>
                  </a:solidFill>
                  <a:cs typeface="Arial" panose="020B0604020202020204" pitchFamily="34" charset="0"/>
                </a:rPr>
                <a:t>Application Alert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AFA0C52-74C8-4068-BE20-A8166AA0AECD}"/>
                </a:ext>
              </a:extLst>
            </p:cNvPr>
            <p:cNvSpPr txBox="1"/>
            <p:nvPr/>
          </p:nvSpPr>
          <p:spPr>
            <a:xfrm>
              <a:off x="1640091" y="4354286"/>
              <a:ext cx="741730" cy="506727"/>
            </a:xfrm>
            <a:prstGeom prst="rect">
              <a:avLst/>
            </a:prstGeom>
            <a:ln>
              <a:noFill/>
            </a:ln>
          </p:spPr>
          <p:txBody>
            <a:bodyPr vert="horz" wrap="square" lIns="68033" tIns="68033" rIns="68033" bIns="68033" rtlCol="0">
              <a:spAutoFit/>
            </a:bodyPr>
            <a:lstStyle/>
            <a:p>
              <a:pPr defTabSz="1151699">
                <a:defRPr/>
              </a:pPr>
              <a:r>
                <a:rPr lang="en-US" sz="600" kern="0" dirty="0">
                  <a:solidFill>
                    <a:srgbClr val="122B54"/>
                  </a:solidFill>
                </a:rPr>
                <a:t>Send system alerts to Service Desk via </a:t>
              </a:r>
              <a:r>
                <a:rPr lang="en-US" sz="600" b="1" kern="0" dirty="0">
                  <a:solidFill>
                    <a:srgbClr val="122B54"/>
                  </a:solidFill>
                </a:rPr>
                <a:t>Email or to ServiceNow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B13F78A-FEA7-4F73-A268-6C9B8ABAD2B6}"/>
                </a:ext>
              </a:extLst>
            </p:cNvPr>
            <p:cNvCxnSpPr>
              <a:cxnSpLocks/>
              <a:stCxn id="23" idx="3"/>
              <a:endCxn id="14" idx="1"/>
            </p:cNvCxnSpPr>
            <p:nvPr/>
          </p:nvCxnSpPr>
          <p:spPr>
            <a:xfrm flipV="1">
              <a:off x="1639237" y="3499275"/>
              <a:ext cx="438693" cy="789150"/>
            </a:xfrm>
            <a:prstGeom prst="straightConnector1">
              <a:avLst/>
            </a:prstGeom>
            <a:noFill/>
            <a:ln w="9525" cap="flat" cmpd="sng" algn="ctr">
              <a:solidFill>
                <a:srgbClr val="96DCFA">
                  <a:shade val="95000"/>
                  <a:satMod val="105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33" name="AutoShape 6">
              <a:extLst>
                <a:ext uri="{FF2B5EF4-FFF2-40B4-BE49-F238E27FC236}">
                  <a16:creationId xmlns:a16="http://schemas.microsoft.com/office/drawing/2014/main" id="{15C967B6-05C8-4E03-8DEF-D7263B469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443" y="2147483647"/>
              <a:ext cx="193349" cy="21474836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122B54"/>
                  </a:solidFill>
                  <a:cs typeface="Arial" panose="020B0604020202020204" pitchFamily="34" charset="0"/>
                </a:rPr>
                <a:t>  Support &amp; Resolutio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1A7168F-AB0E-46DA-B637-E8404AC0E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8871" y="2887223"/>
              <a:ext cx="1009352" cy="1222575"/>
            </a:xfrm>
            <a:prstGeom prst="rect">
              <a:avLst/>
            </a:prstGeom>
            <a:solidFill>
              <a:srgbClr val="49648C">
                <a:lumMod val="60000"/>
                <a:lumOff val="40000"/>
              </a:srgbClr>
            </a:soli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lIns="62788" tIns="25116" rIns="62788" bIns="25116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981720">
                <a:defRPr/>
              </a:pP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Vendor Support</a:t>
              </a:r>
            </a:p>
            <a:p>
              <a:pPr algn="ctr" defTabSz="981720">
                <a:defRPr/>
              </a:pP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(3</a:t>
              </a:r>
              <a:r>
                <a:rPr lang="en-US" altLang="en-US" sz="1039" b="1" kern="0" baseline="30000" dirty="0">
                  <a:solidFill>
                    <a:prstClr val="white"/>
                  </a:solidFill>
                  <a:latin typeface="+mn-lt"/>
                </a:rPr>
                <a:t>rd</a:t>
              </a:r>
              <a:r>
                <a:rPr lang="en-US" altLang="en-US" sz="1039" b="1" kern="0" dirty="0">
                  <a:solidFill>
                    <a:prstClr val="white"/>
                  </a:solidFill>
                  <a:latin typeface="+mn-lt"/>
                </a:rPr>
                <a:t> Level)</a:t>
              </a:r>
            </a:p>
            <a:p>
              <a:pPr algn="ctr" defTabSz="981720">
                <a:defRPr/>
              </a:pPr>
              <a:endParaRPr lang="en-US" altLang="en-US" sz="1039" b="1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5" name="AutoShape 6">
              <a:extLst>
                <a:ext uri="{FF2B5EF4-FFF2-40B4-BE49-F238E27FC236}">
                  <a16:creationId xmlns:a16="http://schemas.microsoft.com/office/drawing/2014/main" id="{6B7A2E4E-AE62-474A-BB65-38FC5959B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2844" y="2124496327"/>
              <a:ext cx="196102" cy="1404832233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3B60A2"/>
              </a:solidFill>
              <a:miter lim="800000"/>
              <a:headEnd/>
              <a:tailEnd/>
            </a:ln>
            <a:effectLst/>
          </p:spPr>
          <p:txBody>
            <a:bodyPr lIns="0" tIns="49074" rIns="0" bIns="49074" anchor="ctr"/>
            <a:lstStyle/>
            <a:p>
              <a:pPr algn="ctr" defTabSz="98172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50" kern="0" dirty="0">
                  <a:solidFill>
                    <a:srgbClr val="122B54"/>
                  </a:solidFill>
                  <a:cs typeface="Arial" panose="020B0604020202020204" pitchFamily="34" charset="0"/>
                </a:rPr>
                <a:t>Product Support </a:t>
              </a:r>
            </a:p>
          </p:txBody>
        </p:sp>
        <p:cxnSp>
          <p:nvCxnSpPr>
            <p:cNvPr id="36" name="Straight Arrow Connector 38">
              <a:extLst>
                <a:ext uri="{FF2B5EF4-FFF2-40B4-BE49-F238E27FC236}">
                  <a16:creationId xmlns:a16="http://schemas.microsoft.com/office/drawing/2014/main" id="{A8DBC28A-8071-437E-B1A5-164E08FF4BF4}"/>
                </a:ext>
              </a:extLst>
            </p:cNvPr>
            <p:cNvCxnSpPr>
              <a:cxnSpLocks noChangeShapeType="1"/>
              <a:stCxn id="15" idx="3"/>
              <a:endCxn id="34" idx="1"/>
            </p:cNvCxnSpPr>
            <p:nvPr/>
          </p:nvCxnSpPr>
          <p:spPr bwMode="auto">
            <a:xfrm flipV="1">
              <a:off x="4786856" y="3498511"/>
              <a:ext cx="432015" cy="765"/>
            </a:xfrm>
            <a:prstGeom prst="straightConnector1">
              <a:avLst/>
            </a:prstGeom>
            <a:noFill/>
            <a:ln w="12700" algn="ctr">
              <a:solidFill>
                <a:srgbClr val="113388"/>
              </a:solidFill>
              <a:prstDash val="dashDot"/>
              <a:round/>
              <a:headEnd type="stealth" w="med" len="med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Straight Arrow Connector 38">
              <a:extLst>
                <a:ext uri="{FF2B5EF4-FFF2-40B4-BE49-F238E27FC236}">
                  <a16:creationId xmlns:a16="http://schemas.microsoft.com/office/drawing/2014/main" id="{DC78C86F-9C6F-49F5-866E-688DCB3EFBC6}"/>
                </a:ext>
              </a:extLst>
            </p:cNvPr>
            <p:cNvCxnSpPr>
              <a:cxnSpLocks noChangeShapeType="1"/>
              <a:stCxn id="14" idx="3"/>
              <a:endCxn id="15" idx="1"/>
            </p:cNvCxnSpPr>
            <p:nvPr/>
          </p:nvCxnSpPr>
          <p:spPr bwMode="auto">
            <a:xfrm>
              <a:off x="3209517" y="3499276"/>
              <a:ext cx="438692" cy="0"/>
            </a:xfrm>
            <a:prstGeom prst="straightConnector1">
              <a:avLst/>
            </a:prstGeom>
            <a:noFill/>
            <a:ln w="12700" algn="ctr">
              <a:solidFill>
                <a:srgbClr val="113388"/>
              </a:solidFill>
              <a:prstDash val="dashDot"/>
              <a:round/>
              <a:headEnd type="stealth" w="med" len="med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Arrow Connector 38">
              <a:extLst>
                <a:ext uri="{FF2B5EF4-FFF2-40B4-BE49-F238E27FC236}">
                  <a16:creationId xmlns:a16="http://schemas.microsoft.com/office/drawing/2014/main" id="{B5798DFB-2580-4819-B6E4-A7FB26BD81D2}"/>
                </a:ext>
              </a:extLst>
            </p:cNvPr>
            <p:cNvCxnSpPr>
              <a:cxnSpLocks noChangeShapeType="1"/>
              <a:stCxn id="18" idx="3"/>
              <a:endCxn id="14" idx="1"/>
            </p:cNvCxnSpPr>
            <p:nvPr/>
          </p:nvCxnSpPr>
          <p:spPr bwMode="auto">
            <a:xfrm>
              <a:off x="1639238" y="3153367"/>
              <a:ext cx="438692" cy="345908"/>
            </a:xfrm>
            <a:prstGeom prst="straightConnector1">
              <a:avLst/>
            </a:prstGeom>
            <a:noFill/>
            <a:ln w="12700" algn="ctr">
              <a:solidFill>
                <a:srgbClr val="113388"/>
              </a:solidFill>
              <a:prstDash val="dashDot"/>
              <a:round/>
              <a:headEnd type="stealth" w="med" len="med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CBA7CEE-51B3-4B3F-BD21-F05A0F29795F}"/>
                </a:ext>
              </a:extLst>
            </p:cNvPr>
            <p:cNvSpPr txBox="1"/>
            <p:nvPr/>
          </p:nvSpPr>
          <p:spPr>
            <a:xfrm>
              <a:off x="2751435" y="2445519"/>
              <a:ext cx="977590" cy="537367"/>
            </a:xfrm>
            <a:prstGeom prst="rect">
              <a:avLst/>
            </a:prstGeom>
            <a:ln>
              <a:noFill/>
            </a:ln>
          </p:spPr>
          <p:txBody>
            <a:bodyPr vert="horz" wrap="square" lIns="68033" tIns="68033" rIns="68033" bIns="68033" rtlCol="0">
              <a:spAutoFit/>
            </a:bodyPr>
            <a:lstStyle/>
            <a:p>
              <a:pPr defTabSz="1151699">
                <a:defRPr/>
              </a:pPr>
              <a:r>
                <a:rPr lang="en-US" sz="600" kern="0" dirty="0">
                  <a:solidFill>
                    <a:srgbClr val="122B54"/>
                  </a:solidFill>
                </a:rPr>
                <a:t>Log Incident &amp; perform triage. Assign incident to 2</a:t>
              </a:r>
              <a:r>
                <a:rPr lang="en-US" sz="600" kern="0" baseline="30000" dirty="0">
                  <a:solidFill>
                    <a:srgbClr val="122B54"/>
                  </a:solidFill>
                </a:rPr>
                <a:t>nd</a:t>
              </a:r>
              <a:r>
                <a:rPr lang="en-US" sz="600" kern="0" dirty="0">
                  <a:solidFill>
                    <a:srgbClr val="122B54"/>
                  </a:solidFill>
                </a:rPr>
                <a:t> level support via </a:t>
              </a:r>
              <a:r>
                <a:rPr lang="en-US" sz="600" b="1" kern="0" dirty="0">
                  <a:solidFill>
                    <a:srgbClr val="122B54"/>
                  </a:solidFill>
                </a:rPr>
                <a:t>ServiceNow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F925F4D-0F3A-4878-8EC2-8145D453AC91}"/>
                </a:ext>
              </a:extLst>
            </p:cNvPr>
            <p:cNvSpPr txBox="1"/>
            <p:nvPr/>
          </p:nvSpPr>
          <p:spPr>
            <a:xfrm>
              <a:off x="4380318" y="2445441"/>
              <a:ext cx="1009352" cy="439451"/>
            </a:xfrm>
            <a:prstGeom prst="rect">
              <a:avLst/>
            </a:prstGeom>
            <a:ln>
              <a:noFill/>
            </a:ln>
          </p:spPr>
          <p:txBody>
            <a:bodyPr vert="horz" wrap="square" lIns="68033" tIns="68033" rIns="68033" bIns="68033" rtlCol="0">
              <a:spAutoFit/>
            </a:bodyPr>
            <a:lstStyle/>
            <a:p>
              <a:pPr defTabSz="1151699">
                <a:defRPr/>
              </a:pPr>
              <a:r>
                <a:rPr lang="en-US" sz="600" kern="0" dirty="0">
                  <a:solidFill>
                    <a:srgbClr val="122B54"/>
                  </a:solidFill>
                </a:rPr>
                <a:t>Raise Incident to Vendor support via </a:t>
              </a:r>
              <a:r>
                <a:rPr lang="en-US" sz="600" b="1" kern="0" dirty="0">
                  <a:solidFill>
                    <a:srgbClr val="122B54"/>
                  </a:solidFill>
                </a:rPr>
                <a:t>Agreed Incident Management Process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EA4A9E06-F67F-466C-BA5E-7A6A158CD547}"/>
              </a:ext>
            </a:extLst>
          </p:cNvPr>
          <p:cNvSpPr txBox="1"/>
          <p:nvPr/>
        </p:nvSpPr>
        <p:spPr>
          <a:xfrm>
            <a:off x="531916" y="994548"/>
            <a:ext cx="615369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36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803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8036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803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8036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defTabSz="1150922">
              <a:buClr>
                <a:srgbClr val="000000"/>
              </a:buClr>
              <a:defRPr/>
            </a:pPr>
            <a:r>
              <a:rPr lang="en-SG" sz="800" b="1" kern="0" cap="all" dirty="0">
                <a:solidFill>
                  <a:srgbClr val="122B54"/>
                </a:solidFill>
              </a:rPr>
              <a:t>Example of An Incident </a:t>
            </a:r>
            <a:r>
              <a:rPr lang="en-SG" sz="800" b="1" cap="all" dirty="0">
                <a:solidFill>
                  <a:srgbClr val="122B54"/>
                </a:solidFill>
              </a:rPr>
              <a:t>support</a:t>
            </a:r>
            <a:r>
              <a:rPr lang="en-SG" sz="800" b="1" kern="0" cap="all" dirty="0">
                <a:solidFill>
                  <a:srgbClr val="122B54"/>
                </a:solidFill>
              </a:rPr>
              <a:t> model</a:t>
            </a:r>
            <a:endParaRPr lang="en-US" sz="800" b="1" kern="0" dirty="0">
              <a:solidFill>
                <a:srgbClr val="122B54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CF646AD-790B-4053-9E13-332C19689060}"/>
              </a:ext>
            </a:extLst>
          </p:cNvPr>
          <p:cNvSpPr txBox="1"/>
          <p:nvPr/>
        </p:nvSpPr>
        <p:spPr>
          <a:xfrm>
            <a:off x="531916" y="3170496"/>
            <a:ext cx="615369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36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00" defTabSz="121803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0000" lvl="2" indent="-180000" defTabSz="1218036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40000" lvl="3" indent="-180000" defTabSz="1218036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20000" lvl="4" indent="-180000" defTabSz="1218036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8" indent="-177092" defTabSz="12180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defTabSz="1150922">
              <a:buClr>
                <a:srgbClr val="000000"/>
              </a:buClr>
              <a:defRPr/>
            </a:pPr>
            <a:r>
              <a:rPr lang="en-SG" sz="800" b="1" kern="0" cap="all" dirty="0">
                <a:solidFill>
                  <a:srgbClr val="122B54"/>
                </a:solidFill>
              </a:rPr>
              <a:t>Example of AN SLA Management model</a:t>
            </a:r>
            <a:endParaRPr lang="en-US" sz="800" b="1" kern="0" dirty="0">
              <a:solidFill>
                <a:srgbClr val="122B54"/>
              </a:solidFill>
            </a:endParaRPr>
          </a:p>
        </p:txBody>
      </p:sp>
      <p:sp>
        <p:nvSpPr>
          <p:cNvPr id="45" name="AutoShape 6">
            <a:extLst>
              <a:ext uri="{FF2B5EF4-FFF2-40B4-BE49-F238E27FC236}">
                <a16:creationId xmlns:a16="http://schemas.microsoft.com/office/drawing/2014/main" id="{857811C3-4D55-4180-94F9-DC95B0361C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0457" y="1842146"/>
            <a:ext cx="767505" cy="238760"/>
          </a:xfrm>
          <a:prstGeom prst="rect">
            <a:avLst/>
          </a:prstGeom>
          <a:solidFill>
            <a:srgbClr val="FFC000"/>
          </a:solidFill>
          <a:ln w="6350">
            <a:solidFill>
              <a:srgbClr val="3B60A2"/>
            </a:solidFill>
            <a:miter lim="800000"/>
            <a:headEnd/>
            <a:tailEnd/>
          </a:ln>
          <a:effectLst/>
        </p:spPr>
        <p:txBody>
          <a:bodyPr lIns="0" tIns="49074" rIns="0" bIns="49074" anchor="ctr"/>
          <a:lstStyle/>
          <a:p>
            <a:pPr algn="ctr" defTabSz="9817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50" kern="0" dirty="0">
                <a:solidFill>
                  <a:srgbClr val="000000"/>
                </a:solidFill>
                <a:cs typeface="Arial" panose="020B0604020202020204" pitchFamily="34" charset="0"/>
              </a:rPr>
              <a:t>ServiceNow</a:t>
            </a:r>
          </a:p>
        </p:txBody>
      </p:sp>
      <p:sp>
        <p:nvSpPr>
          <p:cNvPr id="46" name="AutoShape 6">
            <a:extLst>
              <a:ext uri="{FF2B5EF4-FFF2-40B4-BE49-F238E27FC236}">
                <a16:creationId xmlns:a16="http://schemas.microsoft.com/office/drawing/2014/main" id="{46020C4E-1D05-4828-A008-F9C070A6E8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3810" y="1833684"/>
            <a:ext cx="767505" cy="255684"/>
          </a:xfrm>
          <a:prstGeom prst="rect">
            <a:avLst/>
          </a:prstGeom>
          <a:solidFill>
            <a:srgbClr val="FFC000"/>
          </a:solidFill>
          <a:ln w="6350">
            <a:solidFill>
              <a:srgbClr val="3B60A2"/>
            </a:solidFill>
            <a:miter lim="800000"/>
            <a:headEnd/>
            <a:tailEnd/>
          </a:ln>
          <a:effectLst/>
        </p:spPr>
        <p:txBody>
          <a:bodyPr lIns="0" tIns="49074" rIns="0" bIns="49074" anchor="ctr"/>
          <a:lstStyle/>
          <a:p>
            <a:pPr algn="ctr" defTabSz="98172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50" kern="0" dirty="0">
                <a:solidFill>
                  <a:srgbClr val="000000"/>
                </a:solidFill>
                <a:cs typeface="Arial" panose="020B0604020202020204" pitchFamily="34" charset="0"/>
              </a:rPr>
              <a:t>Agreed Incident Manage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5C4B8BA6-240A-40D4-965A-E9ACCCA12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916" y="3293608"/>
            <a:ext cx="7267492" cy="305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480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/>
              <a:t>Back-up Patterns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117577"/>
              </p:ext>
            </p:extLst>
          </p:nvPr>
        </p:nvGraphicFramePr>
        <p:xfrm>
          <a:off x="8415300" y="533164"/>
          <a:ext cx="3024000" cy="5907804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Backup Patterns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of the syste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Back-up Patterns / Technologies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 panose="020B0604020202020204" charset="0"/>
                          <a:ea typeface="+mn-ea"/>
                          <a:cs typeface="Calibri" panose="020F0502020204030204" pitchFamily="34" charset="0"/>
                        </a:rPr>
                        <a:t>Describe how the Backup patterns and technologies would meet the business required RPO in Project Overview (Slide 2).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Allianz Neo PPT" panose="020B060402020202020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atabase (Managed and self-managed)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k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VM Images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Unstructured Data Storage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8D889B7D-C6D4-4D3D-BE40-528C87E98942}"/>
              </a:ext>
            </a:extLst>
          </p:cNvPr>
          <p:cNvSpPr txBox="1"/>
          <p:nvPr/>
        </p:nvSpPr>
        <p:spPr>
          <a:xfrm>
            <a:off x="468313" y="1270000"/>
            <a:ext cx="3230051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1</a:t>
            </a:r>
            <a:r>
              <a:rPr lang="en-US" sz="1510" dirty="0">
                <a:solidFill>
                  <a:srgbClr val="13A0D3"/>
                </a:solidFill>
              </a:rPr>
              <a:t>: Managed Database Backu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C1FE6E-651C-41E6-A387-42E1BDCD1DC0}"/>
              </a:ext>
            </a:extLst>
          </p:cNvPr>
          <p:cNvSpPr txBox="1"/>
          <p:nvPr/>
        </p:nvSpPr>
        <p:spPr>
          <a:xfrm>
            <a:off x="468313" y="2590800"/>
            <a:ext cx="3595536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2</a:t>
            </a:r>
            <a:r>
              <a:rPr lang="en-US" sz="1510" dirty="0">
                <a:solidFill>
                  <a:srgbClr val="13A0D3"/>
                </a:solidFill>
              </a:rPr>
              <a:t>: Self-managed Database Backu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C58DE7-3605-40DC-8A88-59917E1E803F}"/>
              </a:ext>
            </a:extLst>
          </p:cNvPr>
          <p:cNvSpPr txBox="1"/>
          <p:nvPr/>
        </p:nvSpPr>
        <p:spPr>
          <a:xfrm>
            <a:off x="468313" y="3982564"/>
            <a:ext cx="1029128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3</a:t>
            </a:r>
            <a:r>
              <a:rPr lang="en-US" sz="1510" dirty="0">
                <a:solidFill>
                  <a:srgbClr val="13A0D3"/>
                </a:solidFill>
              </a:rPr>
              <a:t>: ….</a:t>
            </a:r>
          </a:p>
        </p:txBody>
      </p:sp>
    </p:spTree>
    <p:extLst>
      <p:ext uri="{BB962C8B-B14F-4D97-AF65-F5344CB8AC3E}">
        <p14:creationId xmlns:p14="http://schemas.microsoft.com/office/powerpoint/2010/main" val="38102399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2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Availability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6843496"/>
              </p:ext>
            </p:extLst>
          </p:nvPr>
        </p:nvGraphicFramePr>
        <p:xfrm>
          <a:off x="8415300" y="525964"/>
          <a:ext cx="3024000" cy="5907804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High Availability </a:t>
                      </a: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of the syste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High Availability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cribe how the high availability patterns and technologies would meet the business required availability in Project Overview (Slide 1).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0B9CE38-DE47-44B3-8E4D-DB889BC941E2}"/>
              </a:ext>
            </a:extLst>
          </p:cNvPr>
          <p:cNvSpPr txBox="1"/>
          <p:nvPr/>
        </p:nvSpPr>
        <p:spPr>
          <a:xfrm>
            <a:off x="468313" y="1270000"/>
            <a:ext cx="1936428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1</a:t>
            </a:r>
            <a:r>
              <a:rPr lang="en-US" sz="1510" dirty="0">
                <a:solidFill>
                  <a:srgbClr val="13A0D3"/>
                </a:solidFill>
              </a:rPr>
              <a:t>: Active-Ac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DEB561-0AF1-4570-93B2-44EA31806D28}"/>
              </a:ext>
            </a:extLst>
          </p:cNvPr>
          <p:cNvSpPr txBox="1"/>
          <p:nvPr/>
        </p:nvSpPr>
        <p:spPr>
          <a:xfrm>
            <a:off x="468313" y="2590800"/>
            <a:ext cx="1708801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2</a:t>
            </a:r>
            <a:r>
              <a:rPr lang="en-US" sz="1510" dirty="0">
                <a:solidFill>
                  <a:srgbClr val="13A0D3"/>
                </a:solidFill>
              </a:rPr>
              <a:t>: Cluster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09EF8E-2DDD-4AD5-A388-A276B1F8E8B7}"/>
              </a:ext>
            </a:extLst>
          </p:cNvPr>
          <p:cNvSpPr txBox="1"/>
          <p:nvPr/>
        </p:nvSpPr>
        <p:spPr>
          <a:xfrm>
            <a:off x="468313" y="3982564"/>
            <a:ext cx="985847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3</a:t>
            </a:r>
            <a:r>
              <a:rPr lang="en-US" sz="1510" dirty="0">
                <a:solidFill>
                  <a:srgbClr val="13A0D3"/>
                </a:solidFill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1536432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3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isaster</a:t>
            </a:r>
            <a:r>
              <a:rPr lang="de-DE" dirty="0"/>
              <a:t> Recovery Patterns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695278"/>
              </p:ext>
            </p:extLst>
          </p:nvPr>
        </p:nvGraphicFramePr>
        <p:xfrm>
          <a:off x="8415300" y="525964"/>
          <a:ext cx="3024000" cy="5907804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Disaster Recovery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of the syste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DR Patterns / Technologies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cribe how the DR patterns and technologies would meet the business required RTO and RPO in Project Overview (Slide 2).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0B9CE38-DE47-44B3-8E4D-DB889BC941E2}"/>
              </a:ext>
            </a:extLst>
          </p:cNvPr>
          <p:cNvSpPr txBox="1"/>
          <p:nvPr/>
        </p:nvSpPr>
        <p:spPr>
          <a:xfrm>
            <a:off x="468313" y="1270000"/>
            <a:ext cx="1936428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1</a:t>
            </a:r>
            <a:r>
              <a:rPr lang="en-US" sz="1510" dirty="0">
                <a:solidFill>
                  <a:srgbClr val="13A0D3"/>
                </a:solidFill>
              </a:rPr>
              <a:t>: Active-Acti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DEB561-0AF1-4570-93B2-44EA31806D28}"/>
              </a:ext>
            </a:extLst>
          </p:cNvPr>
          <p:cNvSpPr txBox="1"/>
          <p:nvPr/>
        </p:nvSpPr>
        <p:spPr>
          <a:xfrm>
            <a:off x="468313" y="2590800"/>
            <a:ext cx="3347070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2</a:t>
            </a:r>
            <a:r>
              <a:rPr lang="en-US" sz="1510" dirty="0">
                <a:solidFill>
                  <a:srgbClr val="13A0D3"/>
                </a:solidFill>
              </a:rPr>
              <a:t>: Pilot-light with DB replic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09EF8E-2DDD-4AD5-A388-A276B1F8E8B7}"/>
              </a:ext>
            </a:extLst>
          </p:cNvPr>
          <p:cNvSpPr txBox="1"/>
          <p:nvPr/>
        </p:nvSpPr>
        <p:spPr>
          <a:xfrm>
            <a:off x="468313" y="3982564"/>
            <a:ext cx="3763851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u="sng" dirty="0">
                <a:solidFill>
                  <a:srgbClr val="13A0D3"/>
                </a:solidFill>
              </a:rPr>
              <a:t>Pattern 3</a:t>
            </a:r>
            <a:r>
              <a:rPr lang="en-US" sz="1510" dirty="0">
                <a:solidFill>
                  <a:srgbClr val="13A0D3"/>
                </a:solidFill>
              </a:rPr>
              <a:t>: AWS Backup Service/</a:t>
            </a:r>
            <a:r>
              <a:rPr lang="en-US" sz="1510" dirty="0" err="1">
                <a:solidFill>
                  <a:srgbClr val="13A0D3"/>
                </a:solidFill>
              </a:rPr>
              <a:t>CloudEndure</a:t>
            </a:r>
            <a:endParaRPr lang="en-US" sz="1510" dirty="0">
              <a:solidFill>
                <a:srgbClr val="13A0D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266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4</a:t>
            </a:fld>
            <a:endParaRPr lang="de-DE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9D53C52-A63D-4072-8862-98D5841FB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084758"/>
              </p:ext>
            </p:extLst>
          </p:nvPr>
        </p:nvGraphicFramePr>
        <p:xfrm>
          <a:off x="8326692" y="392509"/>
          <a:ext cx="2736000" cy="6002035"/>
        </p:xfrm>
        <a:graphic>
          <a:graphicData uri="http://schemas.openxmlformats.org/drawingml/2006/table">
            <a:tbl>
              <a:tblPr firstRow="1" bandRow="1"/>
              <a:tblGrid>
                <a:gridCol w="2736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5144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kern="1200" baseline="0" dirty="0">
                          <a:solidFill>
                            <a:srgbClr val="13A0D3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Migration Pattern(s) </a:t>
                      </a:r>
                      <a:r>
                        <a:rPr lang="en-SG" altLang="ko-KR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to be implemente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487575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xample:</a:t>
                      </a: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ift and Shift Migration Strategy service using Application Migration Service (MGN)</a:t>
                      </a: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nfigure initial template for Replication Server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nstall replication agent in Source Server. It will add Source Server into MGN Console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tart replication process. It is a block-based replication process. Replication Servers will copy binary of each disks on Source Server and put each disks into same number of EBS disks.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When data replication status is Healthy, We can create EC2 Instances to target VPC  for Testing or Cutover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11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9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n-US" sz="1400" dirty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205740" y="296417"/>
            <a:ext cx="7897504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800" dirty="0"/>
              <a:t>Migration Pattern 1 – Semi-</a:t>
            </a:r>
            <a:r>
              <a:rPr lang="de-DE" sz="2800" dirty="0" err="1"/>
              <a:t>automated</a:t>
            </a:r>
            <a:r>
              <a:rPr lang="de-DE" sz="2800" dirty="0"/>
              <a:t> Server Migration</a:t>
            </a:r>
            <a:endParaRPr lang="en-US" sz="2800" dirty="0">
              <a:solidFill>
                <a:srgbClr val="13A0D3"/>
              </a:solidFill>
            </a:endParaRP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7ECE6689-28A8-B9C6-9214-6F3C6AB08E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" y="957783"/>
            <a:ext cx="8092531" cy="51072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E438D7E-9CB2-1A2A-3437-9218726B35E9}"/>
              </a:ext>
            </a:extLst>
          </p:cNvPr>
          <p:cNvSpPr txBox="1"/>
          <p:nvPr/>
        </p:nvSpPr>
        <p:spPr>
          <a:xfrm>
            <a:off x="3978804" y="5048768"/>
            <a:ext cx="593889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000" b="1" spc="100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F637A0-49B1-6871-EE51-C527F536E083}"/>
              </a:ext>
            </a:extLst>
          </p:cNvPr>
          <p:cNvSpPr txBox="1"/>
          <p:nvPr/>
        </p:nvSpPr>
        <p:spPr>
          <a:xfrm>
            <a:off x="1749287" y="5536902"/>
            <a:ext cx="427383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000" b="1" spc="100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E48EEE-B2E3-7E57-DF9A-3EA976CD732E}"/>
              </a:ext>
            </a:extLst>
          </p:cNvPr>
          <p:cNvSpPr txBox="1"/>
          <p:nvPr/>
        </p:nvSpPr>
        <p:spPr>
          <a:xfrm>
            <a:off x="2514600" y="3960813"/>
            <a:ext cx="150682" cy="3077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000" b="1" spc="100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833747-96EE-1008-93A5-E796B029AC7B}"/>
              </a:ext>
            </a:extLst>
          </p:cNvPr>
          <p:cNvSpPr txBox="1"/>
          <p:nvPr/>
        </p:nvSpPr>
        <p:spPr>
          <a:xfrm>
            <a:off x="6331226" y="5536902"/>
            <a:ext cx="238539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000" b="1" spc="100" dirty="0">
                <a:solidFill>
                  <a:srgbClr val="FF0000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871019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9D53C52-A63D-4072-8862-98D5841FB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02294"/>
              </p:ext>
            </p:extLst>
          </p:nvPr>
        </p:nvGraphicFramePr>
        <p:xfrm>
          <a:off x="8326692" y="392509"/>
          <a:ext cx="2736000" cy="6002035"/>
        </p:xfrm>
        <a:graphic>
          <a:graphicData uri="http://schemas.openxmlformats.org/drawingml/2006/table">
            <a:tbl>
              <a:tblPr firstRow="1" bandRow="1"/>
              <a:tblGrid>
                <a:gridCol w="2736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5144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Describe </a:t>
                      </a:r>
                      <a:r>
                        <a:rPr kumimoji="0" lang="en-SG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3A0D3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Migration Pattern(s) </a:t>
                      </a:r>
                      <a:r>
                        <a:rPr kumimoji="0" lang="en-SG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to be implemente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487575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xample:</a:t>
                      </a: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err="1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eplatform</a:t>
                      </a:r>
                      <a:r>
                        <a:rPr lang="en-US" sz="11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strategy for migrating databases using Database Migration Services (DMS)</a:t>
                      </a:r>
                      <a:endParaRPr lang="en-US" sz="9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dirty="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reate database instance on Amazon RD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dirty="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reate replication instance in AWS Database Migration Service (DMS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dirty="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reate endpoints in AWS DM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dirty="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reate a replication task in AWS DM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dirty="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omplete migration and cleanup resources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8AC9F114-3AA3-4B5A-90A1-F060C6B1E710}"/>
              </a:ext>
            </a:extLst>
          </p:cNvPr>
          <p:cNvSpPr txBox="1">
            <a:spLocks/>
          </p:cNvSpPr>
          <p:nvPr/>
        </p:nvSpPr>
        <p:spPr>
          <a:xfrm>
            <a:off x="327660" y="415107"/>
            <a:ext cx="799903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800" dirty="0"/>
              <a:t>Migration Pattern 2 – Database </a:t>
            </a:r>
            <a:r>
              <a:rPr lang="de-DE" sz="2800" dirty="0" err="1"/>
              <a:t>Replatform</a:t>
            </a:r>
            <a:r>
              <a:rPr lang="de-DE" sz="2800" dirty="0"/>
              <a:t> </a:t>
            </a:r>
            <a:r>
              <a:rPr lang="de-DE" sz="2800" dirty="0" err="1"/>
              <a:t>using</a:t>
            </a:r>
            <a:r>
              <a:rPr lang="de-DE" sz="2800" dirty="0"/>
              <a:t> DMS</a:t>
            </a:r>
            <a:endParaRPr lang="en-US" sz="2800" dirty="0">
              <a:solidFill>
                <a:srgbClr val="13A0D3"/>
              </a:solidFill>
            </a:endParaRPr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5FD6C478-70BE-41A8-8E52-18127F3787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3" y="1574152"/>
            <a:ext cx="8265439" cy="439428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640B476-67B6-46E2-93AC-521054A2B13E}"/>
              </a:ext>
            </a:extLst>
          </p:cNvPr>
          <p:cNvSpPr txBox="1"/>
          <p:nvPr/>
        </p:nvSpPr>
        <p:spPr>
          <a:xfrm>
            <a:off x="3672321" y="3960813"/>
            <a:ext cx="457200" cy="2323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F62459"/>
                </a:solidFill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E503B2-BAA5-4E92-8D51-1433C9EFF2CA}"/>
              </a:ext>
            </a:extLst>
          </p:cNvPr>
          <p:cNvSpPr txBox="1"/>
          <p:nvPr/>
        </p:nvSpPr>
        <p:spPr>
          <a:xfrm>
            <a:off x="7305260" y="2922105"/>
            <a:ext cx="182217" cy="2323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F62459"/>
                </a:solidFill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DDBC10C-81FF-4B08-8A7B-6B03F93365C3}"/>
              </a:ext>
            </a:extLst>
          </p:cNvPr>
          <p:cNvSpPr txBox="1"/>
          <p:nvPr/>
        </p:nvSpPr>
        <p:spPr>
          <a:xfrm>
            <a:off x="4104485" y="2744012"/>
            <a:ext cx="457200" cy="2323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F62459"/>
                </a:solidFill>
              </a:rPr>
              <a:t>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21FA9F-76D0-42E4-A5DA-F5DF943DC23A}"/>
              </a:ext>
            </a:extLst>
          </p:cNvPr>
          <p:cNvSpPr txBox="1"/>
          <p:nvPr/>
        </p:nvSpPr>
        <p:spPr>
          <a:xfrm>
            <a:off x="4559841" y="2317904"/>
            <a:ext cx="457200" cy="2323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F62459"/>
                </a:solidFill>
              </a:rPr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419195-234A-4FC7-B139-FD01A684CE0F}"/>
              </a:ext>
            </a:extLst>
          </p:cNvPr>
          <p:cNvSpPr txBox="1"/>
          <p:nvPr/>
        </p:nvSpPr>
        <p:spPr>
          <a:xfrm>
            <a:off x="3741554" y="4937466"/>
            <a:ext cx="457200" cy="2323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F62459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2625341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 err="1"/>
              <a:t>Application</a:t>
            </a:r>
            <a:r>
              <a:rPr lang="de-DE" dirty="0"/>
              <a:t> Migration Info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AE20538-F346-4696-8BAE-CAAD47D2E3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017543"/>
              </p:ext>
            </p:extLst>
          </p:nvPr>
        </p:nvGraphicFramePr>
        <p:xfrm>
          <a:off x="173489" y="1125538"/>
          <a:ext cx="11112841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328">
                  <a:extLst>
                    <a:ext uri="{9D8B030D-6E8A-4147-A177-3AD203B41FA5}">
                      <a16:colId xmlns:a16="http://schemas.microsoft.com/office/drawing/2014/main" val="1091828275"/>
                    </a:ext>
                  </a:extLst>
                </a:gridCol>
                <a:gridCol w="1857025">
                  <a:extLst>
                    <a:ext uri="{9D8B030D-6E8A-4147-A177-3AD203B41FA5}">
                      <a16:colId xmlns:a16="http://schemas.microsoft.com/office/drawing/2014/main" val="3668396421"/>
                    </a:ext>
                  </a:extLst>
                </a:gridCol>
                <a:gridCol w="1107014">
                  <a:extLst>
                    <a:ext uri="{9D8B030D-6E8A-4147-A177-3AD203B41FA5}">
                      <a16:colId xmlns:a16="http://schemas.microsoft.com/office/drawing/2014/main" val="3256787631"/>
                    </a:ext>
                  </a:extLst>
                </a:gridCol>
                <a:gridCol w="1107014">
                  <a:extLst>
                    <a:ext uri="{9D8B030D-6E8A-4147-A177-3AD203B41FA5}">
                      <a16:colId xmlns:a16="http://schemas.microsoft.com/office/drawing/2014/main" val="2378006713"/>
                    </a:ext>
                  </a:extLst>
                </a:gridCol>
                <a:gridCol w="1107014">
                  <a:extLst>
                    <a:ext uri="{9D8B030D-6E8A-4147-A177-3AD203B41FA5}">
                      <a16:colId xmlns:a16="http://schemas.microsoft.com/office/drawing/2014/main" val="3248218920"/>
                    </a:ext>
                  </a:extLst>
                </a:gridCol>
                <a:gridCol w="1107014">
                  <a:extLst>
                    <a:ext uri="{9D8B030D-6E8A-4147-A177-3AD203B41FA5}">
                      <a16:colId xmlns:a16="http://schemas.microsoft.com/office/drawing/2014/main" val="4055990849"/>
                    </a:ext>
                  </a:extLst>
                </a:gridCol>
                <a:gridCol w="1157888">
                  <a:extLst>
                    <a:ext uri="{9D8B030D-6E8A-4147-A177-3AD203B41FA5}">
                      <a16:colId xmlns:a16="http://schemas.microsoft.com/office/drawing/2014/main" val="285309598"/>
                    </a:ext>
                  </a:extLst>
                </a:gridCol>
                <a:gridCol w="1157888">
                  <a:extLst>
                    <a:ext uri="{9D8B030D-6E8A-4147-A177-3AD203B41FA5}">
                      <a16:colId xmlns:a16="http://schemas.microsoft.com/office/drawing/2014/main" val="2149759309"/>
                    </a:ext>
                  </a:extLst>
                </a:gridCol>
                <a:gridCol w="2148656">
                  <a:extLst>
                    <a:ext uri="{9D8B030D-6E8A-4147-A177-3AD203B41FA5}">
                      <a16:colId xmlns:a16="http://schemas.microsoft.com/office/drawing/2014/main" val="2387398078"/>
                    </a:ext>
                  </a:extLst>
                </a:gridCol>
              </a:tblGrid>
              <a:tr h="16058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S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TO/RPO Req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Backup Pat.</a:t>
                      </a:r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DR Pat.</a:t>
                      </a:r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igration Pat.</a:t>
                      </a:r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igration Cost (€)</a:t>
                      </a:r>
                    </a:p>
                  </a:txBody>
                  <a:tcPr>
                    <a:solidFill>
                      <a:srgbClr val="F862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ITR Reference</a:t>
                      </a:r>
                    </a:p>
                  </a:txBody>
                  <a:tcPr>
                    <a:solidFill>
                      <a:srgbClr val="F862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emar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788775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="1" dirty="0"/>
                        <a:t>Migration Group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8369480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Banca Conn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4h / 15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1,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err="1"/>
                        <a:t>Xyz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324429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redit Lif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4h / 15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Patter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1,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err="1"/>
                        <a:t>Xyz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4915394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err="1"/>
                        <a:t>eAZy</a:t>
                      </a:r>
                      <a:r>
                        <a:rPr lang="en-US" sz="900" dirty="0"/>
                        <a:t> Conn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24h / 30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Patter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attern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Pattern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 err="1"/>
                        <a:t>Abc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481994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6536257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="1" dirty="0"/>
                        <a:t>Migration Group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0192629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948906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r>
                        <a:rPr lang="en-US" sz="9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1557609"/>
                  </a:ext>
                </a:extLst>
              </a:tr>
              <a:tr h="160587"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3571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414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889417C5-91FD-460A-99A8-D9F37C0E2F3E}"/>
              </a:ext>
            </a:extLst>
          </p:cNvPr>
          <p:cNvGraphicFramePr>
            <a:graphicFrameLocks noGrp="1"/>
          </p:cNvGraphicFramePr>
          <p:nvPr/>
        </p:nvGraphicFramePr>
        <p:xfrm>
          <a:off x="267951" y="784979"/>
          <a:ext cx="8005893" cy="5601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05893">
                  <a:extLst>
                    <a:ext uri="{9D8B030D-6E8A-4147-A177-3AD203B41FA5}">
                      <a16:colId xmlns:a16="http://schemas.microsoft.com/office/drawing/2014/main" val="504259660"/>
                    </a:ext>
                  </a:extLst>
                </a:gridCol>
              </a:tblGrid>
              <a:tr h="496320"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imeline</a:t>
                      </a:r>
                    </a:p>
                  </a:txBody>
                  <a:tcPr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6535"/>
                  </a:ext>
                </a:extLst>
              </a:tr>
              <a:tr h="510475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noProof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36423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D8679F-976F-4A87-93E4-373065C08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201502"/>
            <a:ext cx="10367962" cy="900114"/>
          </a:xfrm>
        </p:spPr>
        <p:txBody>
          <a:bodyPr/>
          <a:lstStyle/>
          <a:p>
            <a:r>
              <a:rPr lang="en-SG" dirty="0"/>
              <a:t>Approach &amp; Timeli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4B6D59-FFDF-4351-9728-D39761372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3D4F48-EF35-4172-A78A-C0FC95F07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3" y="-490642"/>
            <a:ext cx="5075237" cy="252000"/>
          </a:xfrm>
        </p:spPr>
        <p:txBody>
          <a:bodyPr/>
          <a:lstStyle/>
          <a:p>
            <a:r>
              <a:rPr lang="de-DE" dirty="0"/>
              <a:t>PROJECT : Approach &amp; Timeli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BBCA4-96E4-495B-A08D-F5269AA57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12" name="表格 39">
            <a:extLst>
              <a:ext uri="{FF2B5EF4-FFF2-40B4-BE49-F238E27FC236}">
                <a16:creationId xmlns:a16="http://schemas.microsoft.com/office/drawing/2014/main" id="{4972E448-E9CD-4EAC-ADE8-AF96BAF3B4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619262"/>
              </p:ext>
            </p:extLst>
          </p:nvPr>
        </p:nvGraphicFramePr>
        <p:xfrm>
          <a:off x="312954" y="1337162"/>
          <a:ext cx="7894013" cy="4949309"/>
        </p:xfrm>
        <a:graphic>
          <a:graphicData uri="http://schemas.openxmlformats.org/drawingml/2006/table">
            <a:tbl>
              <a:tblPr/>
              <a:tblGrid>
                <a:gridCol w="19350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3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60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1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4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66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88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441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350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4413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2070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007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3749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55018">
                <a:tc rowSpan="2"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Activity</a:t>
                      </a:r>
                      <a:endParaRPr lang="en-US" sz="1000" b="1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021</a:t>
                      </a:r>
                      <a:endParaRPr lang="en-US" altLang="zh-TW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742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baseline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1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2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3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4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5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6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7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8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9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10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11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12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igration Group 1</a:t>
                      </a: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7486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n-US" sz="1000" b="1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igration Group 2</a:t>
                      </a:r>
                      <a:endParaRPr lang="en-US" sz="1000" b="1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274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3197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en-US" sz="1000" b="1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Migration Group 3</a:t>
                      </a:r>
                      <a:endParaRPr lang="en-US" sz="1000" b="1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883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Task/Activity</a:t>
                      </a:r>
                      <a:endParaRPr 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zh-TW" altLang="en-US" sz="1000" u="none" strike="noStrike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　</a:t>
                      </a:r>
                      <a:endParaRPr lang="zh-TW" altLang="en-US" sz="1000" b="0" i="0" u="none" strike="noStrike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8883">
                <a:tc>
                  <a:txBody>
                    <a:bodyPr/>
                    <a:lstStyle/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rgbClr val="00908D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19326"/>
                  </a:ext>
                </a:extLst>
              </a:tr>
              <a:tr h="338883">
                <a:tc>
                  <a:txBody>
                    <a:bodyPr/>
                    <a:lstStyle/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F62459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Decommission Plan</a:t>
                      </a:r>
                    </a:p>
                    <a:p>
                      <a:pPr marL="0" marR="0" lvl="0" indent="0" algn="l" defTabSz="12189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TW" alt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729" marR="8729" marT="872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103517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3FF5303E-B672-4C91-88FA-BE34D4EE5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3691979"/>
              </p:ext>
            </p:extLst>
          </p:nvPr>
        </p:nvGraphicFramePr>
        <p:xfrm>
          <a:off x="8332033" y="784979"/>
          <a:ext cx="2736000" cy="5601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000">
                  <a:extLst>
                    <a:ext uri="{9D8B030D-6E8A-4147-A177-3AD203B41FA5}">
                      <a16:colId xmlns:a16="http://schemas.microsoft.com/office/drawing/2014/main" val="3443252407"/>
                    </a:ext>
                  </a:extLst>
                </a:gridCol>
              </a:tblGrid>
              <a:tr h="516356"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roach</a:t>
                      </a:r>
                    </a:p>
                  </a:txBody>
                  <a:tcPr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9767224"/>
                  </a:ext>
                </a:extLst>
              </a:tr>
              <a:tr h="508471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noProof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noProof="0" dirty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245683"/>
                  </a:ext>
                </a:extLst>
              </a:tr>
            </a:tbl>
          </a:graphicData>
        </a:graphic>
      </p:graphicFrame>
      <p:sp>
        <p:nvSpPr>
          <p:cNvPr id="24" name="矩形 40">
            <a:extLst>
              <a:ext uri="{FF2B5EF4-FFF2-40B4-BE49-F238E27FC236}">
                <a16:creationId xmlns:a16="http://schemas.microsoft.com/office/drawing/2014/main" id="{7FCEA900-A3F8-432D-80DB-F668933E9EE3}"/>
              </a:ext>
            </a:extLst>
          </p:cNvPr>
          <p:cNvSpPr/>
          <p:nvPr/>
        </p:nvSpPr>
        <p:spPr>
          <a:xfrm>
            <a:off x="3643622" y="2230742"/>
            <a:ext cx="672747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25" name="矩形 41">
            <a:extLst>
              <a:ext uri="{FF2B5EF4-FFF2-40B4-BE49-F238E27FC236}">
                <a16:creationId xmlns:a16="http://schemas.microsoft.com/office/drawing/2014/main" id="{7978A9CA-3C35-4851-8E79-1BD30F8F3FD6}"/>
              </a:ext>
            </a:extLst>
          </p:cNvPr>
          <p:cNvSpPr/>
          <p:nvPr/>
        </p:nvSpPr>
        <p:spPr>
          <a:xfrm>
            <a:off x="4502013" y="2571897"/>
            <a:ext cx="875091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26" name="矩形 42">
            <a:extLst>
              <a:ext uri="{FF2B5EF4-FFF2-40B4-BE49-F238E27FC236}">
                <a16:creationId xmlns:a16="http://schemas.microsoft.com/office/drawing/2014/main" id="{A902DE66-1160-45DE-BBBE-F48B33B2086C}"/>
              </a:ext>
            </a:extLst>
          </p:cNvPr>
          <p:cNvSpPr/>
          <p:nvPr/>
        </p:nvSpPr>
        <p:spPr>
          <a:xfrm>
            <a:off x="2661713" y="2928280"/>
            <a:ext cx="2029151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27" name="矩形 43">
            <a:extLst>
              <a:ext uri="{FF2B5EF4-FFF2-40B4-BE49-F238E27FC236}">
                <a16:creationId xmlns:a16="http://schemas.microsoft.com/office/drawing/2014/main" id="{2BE1BA1F-8073-4656-867F-74A008435A11}"/>
              </a:ext>
            </a:extLst>
          </p:cNvPr>
          <p:cNvSpPr/>
          <p:nvPr/>
        </p:nvSpPr>
        <p:spPr>
          <a:xfrm>
            <a:off x="4612357" y="4015433"/>
            <a:ext cx="731359" cy="86201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28" name="矩形 44">
            <a:extLst>
              <a:ext uri="{FF2B5EF4-FFF2-40B4-BE49-F238E27FC236}">
                <a16:creationId xmlns:a16="http://schemas.microsoft.com/office/drawing/2014/main" id="{679C6DAF-98D2-4E04-BD15-00AB428B5053}"/>
              </a:ext>
            </a:extLst>
          </p:cNvPr>
          <p:cNvSpPr/>
          <p:nvPr/>
        </p:nvSpPr>
        <p:spPr>
          <a:xfrm>
            <a:off x="4320615" y="4354606"/>
            <a:ext cx="989003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29" name="矩形 45">
            <a:extLst>
              <a:ext uri="{FF2B5EF4-FFF2-40B4-BE49-F238E27FC236}">
                <a16:creationId xmlns:a16="http://schemas.microsoft.com/office/drawing/2014/main" id="{2D94D76F-C83E-4A27-9539-A410C09BA099}"/>
              </a:ext>
            </a:extLst>
          </p:cNvPr>
          <p:cNvSpPr/>
          <p:nvPr/>
        </p:nvSpPr>
        <p:spPr>
          <a:xfrm>
            <a:off x="6415397" y="5426814"/>
            <a:ext cx="484322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30" name="矩形 46">
            <a:extLst>
              <a:ext uri="{FF2B5EF4-FFF2-40B4-BE49-F238E27FC236}">
                <a16:creationId xmlns:a16="http://schemas.microsoft.com/office/drawing/2014/main" id="{CB972ED2-C12A-4A22-BC7E-82EACA8CBCE5}"/>
              </a:ext>
            </a:extLst>
          </p:cNvPr>
          <p:cNvSpPr/>
          <p:nvPr/>
        </p:nvSpPr>
        <p:spPr>
          <a:xfrm>
            <a:off x="4502013" y="5048473"/>
            <a:ext cx="2029151" cy="89942"/>
          </a:xfrm>
          <a:prstGeom prst="rect">
            <a:avLst/>
          </a:prstGeom>
          <a:solidFill>
            <a:srgbClr val="0061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新細明體"/>
              <a:cs typeface="+mn-cs"/>
            </a:endParaRPr>
          </a:p>
        </p:txBody>
      </p:sp>
      <p:sp>
        <p:nvSpPr>
          <p:cNvPr id="31" name="矩形 44">
            <a:extLst>
              <a:ext uri="{FF2B5EF4-FFF2-40B4-BE49-F238E27FC236}">
                <a16:creationId xmlns:a16="http://schemas.microsoft.com/office/drawing/2014/main" id="{8CA8059D-F521-4BE9-BC94-5597BCB8DAC2}"/>
              </a:ext>
            </a:extLst>
          </p:cNvPr>
          <p:cNvSpPr/>
          <p:nvPr/>
        </p:nvSpPr>
        <p:spPr>
          <a:xfrm>
            <a:off x="6859093" y="6073537"/>
            <a:ext cx="989003" cy="89942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新細明體"/>
              <a:cs typeface="Calibri" panose="020F0502020204030204" pitchFamily="34" charset="0"/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F62277AD-C0E8-4F71-9F6E-0FA3E88D338C}"/>
              </a:ext>
            </a:extLst>
          </p:cNvPr>
          <p:cNvSpPr/>
          <p:nvPr/>
        </p:nvSpPr>
        <p:spPr>
          <a:xfrm>
            <a:off x="6880120" y="5557225"/>
            <a:ext cx="265471" cy="297457"/>
          </a:xfrm>
          <a:prstGeom prst="star5">
            <a:avLst/>
          </a:prstGeom>
          <a:solidFill>
            <a:srgbClr val="00908D"/>
          </a:solidFill>
          <a:ln>
            <a:solidFill>
              <a:srgbClr val="0090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926684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5545FD7-AC17-41B0-9E2E-14C0538F8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161924"/>
            <a:ext cx="10367962" cy="900114"/>
          </a:xfrm>
        </p:spPr>
        <p:txBody>
          <a:bodyPr/>
          <a:lstStyle/>
          <a:p>
            <a:r>
              <a:rPr lang="de-DE" dirty="0"/>
              <a:t>Project: </a:t>
            </a:r>
            <a:r>
              <a:rPr lang="de-DE" dirty="0">
                <a:solidFill>
                  <a:srgbClr val="13A0D3"/>
                </a:solidFill>
              </a:rPr>
              <a:t>Overview</a:t>
            </a:r>
            <a:endParaRPr lang="en-SG" dirty="0">
              <a:solidFill>
                <a:srgbClr val="13A0D3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25F95-B44E-4D6E-A224-D2EB89991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© Copyright Allianz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B05B48-F9D7-4F9B-8BA2-9FA244CE1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D03F6B-087E-49F3-B048-75F2D102D70A}"/>
              </a:ext>
            </a:extLst>
          </p:cNvPr>
          <p:cNvSpPr/>
          <p:nvPr/>
        </p:nvSpPr>
        <p:spPr>
          <a:xfrm>
            <a:off x="64770" y="719999"/>
            <a:ext cx="10995025" cy="898729"/>
          </a:xfrm>
          <a:prstGeom prst="rect">
            <a:avLst/>
          </a:prstGeom>
          <a:solidFill>
            <a:srgbClr val="F4F2F2"/>
          </a:solidFill>
          <a:ln>
            <a:solidFill>
              <a:srgbClr val="00B0F0"/>
            </a:solidFill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t"/>
            <a:r>
              <a:rPr lang="en-US" sz="1100" b="1" dirty="0">
                <a:solidFill>
                  <a:schemeClr val="bg1"/>
                </a:solidFill>
              </a:rPr>
              <a:t>Project Objective/Executive Summary</a:t>
            </a:r>
          </a:p>
          <a:p>
            <a:pPr marL="171416" indent="-171416" fontAlgn="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Give a project brief background &amp; context in terms of why we are doing the project.</a:t>
            </a:r>
          </a:p>
          <a:p>
            <a:pPr marL="171416" indent="-171416" fontAlgn="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If the Project is to address business challenges being faced today, start with the Problem Statement to clearly state the problem to be solved, and the consequence of not doing so. </a:t>
            </a:r>
          </a:p>
          <a:p>
            <a:pPr marL="171416" indent="-171416" fontAlgn="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Provide a brief description of the current initiatives/processes in place if any, and why they are not working effectively</a:t>
            </a:r>
            <a:endParaRPr lang="en-SG" sz="1400" kern="0" dirty="0">
              <a:solidFill>
                <a:srgbClr val="122B54"/>
              </a:solidFill>
            </a:endParaRPr>
          </a:p>
          <a:p>
            <a:pPr marL="171416" indent="-171416" fontAlgn="t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</a:rPr>
              <a:t>Refer to this </a:t>
            </a:r>
            <a:r>
              <a:rPr lang="en-US" sz="1000" dirty="0">
                <a:solidFill>
                  <a:srgbClr val="13A0D3"/>
                </a:solidFill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en-US" sz="1000" dirty="0">
                <a:solidFill>
                  <a:schemeClr val="bg1"/>
                </a:solidFill>
              </a:rPr>
              <a:t> for Global Domain Model to identify business capabilities, and Normative Model V2.0 to assess criticality of business capabilities. 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74A04039-9DD9-4DE3-94BA-89D2F421CA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563561"/>
              </p:ext>
            </p:extLst>
          </p:nvPr>
        </p:nvGraphicFramePr>
        <p:xfrm>
          <a:off x="57150" y="1652479"/>
          <a:ext cx="10995025" cy="1631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1061">
                  <a:extLst>
                    <a:ext uri="{9D8B030D-6E8A-4147-A177-3AD203B41FA5}">
                      <a16:colId xmlns:a16="http://schemas.microsoft.com/office/drawing/2014/main" val="2237577773"/>
                    </a:ext>
                  </a:extLst>
                </a:gridCol>
                <a:gridCol w="1343947">
                  <a:extLst>
                    <a:ext uri="{9D8B030D-6E8A-4147-A177-3AD203B41FA5}">
                      <a16:colId xmlns:a16="http://schemas.microsoft.com/office/drawing/2014/main" val="2288950411"/>
                    </a:ext>
                  </a:extLst>
                </a:gridCol>
                <a:gridCol w="1297481">
                  <a:extLst>
                    <a:ext uri="{9D8B030D-6E8A-4147-A177-3AD203B41FA5}">
                      <a16:colId xmlns:a16="http://schemas.microsoft.com/office/drawing/2014/main" val="3071124812"/>
                    </a:ext>
                  </a:extLst>
                </a:gridCol>
                <a:gridCol w="2367528">
                  <a:extLst>
                    <a:ext uri="{9D8B030D-6E8A-4147-A177-3AD203B41FA5}">
                      <a16:colId xmlns:a16="http://schemas.microsoft.com/office/drawing/2014/main" val="3567917869"/>
                    </a:ext>
                  </a:extLst>
                </a:gridCol>
                <a:gridCol w="1832504">
                  <a:extLst>
                    <a:ext uri="{9D8B030D-6E8A-4147-A177-3AD203B41FA5}">
                      <a16:colId xmlns:a16="http://schemas.microsoft.com/office/drawing/2014/main" val="2673462771"/>
                    </a:ext>
                  </a:extLst>
                </a:gridCol>
                <a:gridCol w="1832504">
                  <a:extLst>
                    <a:ext uri="{9D8B030D-6E8A-4147-A177-3AD203B41FA5}">
                      <a16:colId xmlns:a16="http://schemas.microsoft.com/office/drawing/2014/main" val="2915656222"/>
                    </a:ext>
                  </a:extLst>
                </a:gridCol>
              </a:tblGrid>
              <a:tr h="3751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rrent Year IT</a:t>
                      </a:r>
                      <a:r>
                        <a:rPr lang="en-US" sz="10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Spend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Itemized</a:t>
                      </a:r>
                      <a:r>
                        <a:rPr lang="en-US" sz="10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Breakdown)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890" marR="121890" marT="45725" marB="45725" horzOverflow="overflow"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uantity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Volume / Units)</a:t>
                      </a:r>
                    </a:p>
                  </a:txBody>
                  <a:tcPr marL="121890" marR="121890" marT="45725" marB="45725" horzOverflow="overflow"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nit Cos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€)</a:t>
                      </a:r>
                    </a:p>
                  </a:txBody>
                  <a:tcPr marL="121890" marR="121890" marT="45725" marB="45725" horzOverflow="overflow"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IT SPEND for Current Yea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€K)</a:t>
                      </a:r>
                    </a:p>
                  </a:txBody>
                  <a:tcPr marL="121890" marR="121890" marT="45725" marB="45725" horzOverflow="overflow"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ual Run Cost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Itemized</a:t>
                      </a:r>
                      <a:r>
                        <a:rPr lang="en-US" sz="10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Breakdown)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890" marR="121890" marT="45725" marB="45725" horzOverflow="overflow"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ual Run Costs (€K)</a:t>
                      </a:r>
                    </a:p>
                  </a:txBody>
                  <a:tcPr marL="121890" marR="121890" marT="45725" marB="45725" horzOverflow="overflow">
                    <a:solidFill>
                      <a:srgbClr val="B5DA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030258"/>
                  </a:ext>
                </a:extLst>
              </a:tr>
              <a:tr h="247072">
                <a:tc>
                  <a:txBody>
                    <a:bodyPr/>
                    <a:lstStyle/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B5DA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283458"/>
                  </a:ext>
                </a:extLst>
              </a:tr>
              <a:tr h="247072"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License Ph 1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License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745868"/>
                  </a:ext>
                </a:extLst>
              </a:tr>
              <a:tr h="247072"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Hardware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Hardware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304985"/>
                  </a:ext>
                </a:extLst>
              </a:tr>
              <a:tr h="247072"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License Ph 2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Services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003790"/>
                  </a:ext>
                </a:extLst>
              </a:tr>
              <a:tr h="247072"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Others </a:t>
                      </a:r>
                      <a:r>
                        <a:rPr kumimoji="0" lang="en-GB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e.g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Manpower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latin typeface="+mn-lt"/>
                        <a:ea typeface="ＭＳ Ｐゴシック" pitchFamily="34" charset="-128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Others</a:t>
                      </a: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marL="121890" marR="121890" marT="45725" marB="45725" anchor="ctr" horzOverflow="overflow"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069148"/>
                  </a:ext>
                </a:extLst>
              </a:tr>
            </a:tbl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416BEF2C-5EF0-4C98-9824-2F292909FD16}"/>
              </a:ext>
            </a:extLst>
          </p:cNvPr>
          <p:cNvGraphicFramePr>
            <a:graphicFrameLocks noGrp="1"/>
          </p:cNvGraphicFramePr>
          <p:nvPr/>
        </p:nvGraphicFramePr>
        <p:xfrm>
          <a:off x="47625" y="3319876"/>
          <a:ext cx="3280134" cy="1473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0134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2901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EY DRIVERS</a:t>
                      </a:r>
                    </a:p>
                  </a:txBody>
                  <a:tcPr>
                    <a:solidFill>
                      <a:srgbClr val="75D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1183875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Mention Key drivers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State the opportunities identified through this project and explain how the organization is thus able to capitalize on these opportunities</a:t>
                      </a:r>
                      <a:endParaRPr lang="en-SG" sz="900" dirty="0"/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EA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8EA5EEB2-9F9C-4589-9E73-396DE3E63CC9}"/>
              </a:ext>
            </a:extLst>
          </p:cNvPr>
          <p:cNvGraphicFramePr>
            <a:graphicFrameLocks noGrp="1"/>
          </p:cNvGraphicFramePr>
          <p:nvPr/>
        </p:nvGraphicFramePr>
        <p:xfrm>
          <a:off x="3387285" y="3319876"/>
          <a:ext cx="3280134" cy="1473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0134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2901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USINESS BENEFITS</a:t>
                      </a:r>
                    </a:p>
                  </a:txBody>
                  <a:tcPr>
                    <a:solidFill>
                      <a:srgbClr val="FAB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1183875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Mention Business Benefits . For ex Launch new and Innovative products, High ROI ,Shorter Change cycles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To provide Cost Benefit Analysis (CBA) for Local (non-ITMP), non-regulatory, non-security mandated 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FFF6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9471E12B-7277-42E9-A93F-A1F6BDAFD529}"/>
              </a:ext>
            </a:extLst>
          </p:cNvPr>
          <p:cNvGraphicFramePr>
            <a:graphicFrameLocks noGrp="1"/>
          </p:cNvGraphicFramePr>
          <p:nvPr/>
        </p:nvGraphicFramePr>
        <p:xfrm>
          <a:off x="6729412" y="3329938"/>
          <a:ext cx="4313235" cy="2146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3235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295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USINESS CAPABILITIES (GDM)</a:t>
                      </a:r>
                    </a:p>
                  </a:txBody>
                  <a:tcPr>
                    <a:solidFill>
                      <a:srgbClr val="FCB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1851217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FF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A5BDC72D-0078-480A-9ACA-159521C99A96}"/>
              </a:ext>
            </a:extLst>
          </p:cNvPr>
          <p:cNvGraphicFramePr>
            <a:graphicFrameLocks noGrp="1"/>
          </p:cNvGraphicFramePr>
          <p:nvPr/>
        </p:nvGraphicFramePr>
        <p:xfrm>
          <a:off x="57150" y="4851903"/>
          <a:ext cx="3280134" cy="1567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0134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318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NSTRAINTS, DEPENDENCIES &amp; ASSUMPTIONS</a:t>
                      </a:r>
                    </a:p>
                  </a:txBody>
                  <a:tcPr>
                    <a:solidFill>
                      <a:srgbClr val="F86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1249564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Constraints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Dependencies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Assumptions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FFD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7321284-E313-4793-8A96-752B3545EE1B}"/>
              </a:ext>
            </a:extLst>
          </p:cNvPr>
          <p:cNvGraphicFramePr>
            <a:graphicFrameLocks noGrp="1"/>
          </p:cNvGraphicFramePr>
          <p:nvPr/>
        </p:nvGraphicFramePr>
        <p:xfrm>
          <a:off x="3396810" y="4851903"/>
          <a:ext cx="3280134" cy="1567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0134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3201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SG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YSTEMS IMPACTED (including decommission)</a:t>
                      </a:r>
                    </a:p>
                  </a:txBody>
                  <a:tcPr>
                    <a:solidFill>
                      <a:srgbClr val="13A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1247775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What are the critical systems/applications that will be impacted by this project?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Any servers/applications to be decommissioned and date of decommission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D1F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graphicFrame>
        <p:nvGraphicFramePr>
          <p:cNvPr id="15" name="Table 13">
            <a:extLst>
              <a:ext uri="{FF2B5EF4-FFF2-40B4-BE49-F238E27FC236}">
                <a16:creationId xmlns:a16="http://schemas.microsoft.com/office/drawing/2014/main" id="{BFCC9BA5-3A40-4FD4-B0EE-51DA17A8FB08}"/>
              </a:ext>
            </a:extLst>
          </p:cNvPr>
          <p:cNvGraphicFramePr>
            <a:graphicFrameLocks noGrp="1"/>
          </p:cNvGraphicFramePr>
          <p:nvPr/>
        </p:nvGraphicFramePr>
        <p:xfrm>
          <a:off x="6738937" y="5491574"/>
          <a:ext cx="4313235" cy="9581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3235">
                  <a:extLst>
                    <a:ext uri="{9D8B030D-6E8A-4147-A177-3AD203B41FA5}">
                      <a16:colId xmlns:a16="http://schemas.microsoft.com/office/drawing/2014/main" val="1259155224"/>
                    </a:ext>
                  </a:extLst>
                </a:gridCol>
              </a:tblGrid>
              <a:tr h="2630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OADMAP FOR MIGRATING TO GROUP SOLUTION</a:t>
                      </a:r>
                    </a:p>
                  </a:txBody>
                  <a:tcPr>
                    <a:solidFill>
                      <a:srgbClr val="5FCD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036236"/>
                  </a:ext>
                </a:extLst>
              </a:tr>
              <a:tr h="695029">
                <a:tc>
                  <a:txBody>
                    <a:bodyPr/>
                    <a:lstStyle/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US" sz="900" dirty="0"/>
                        <a:t>If any</a:t>
                      </a:r>
                    </a:p>
                    <a:p>
                      <a:pPr marL="342831" indent="-342831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Ø"/>
                      </a:pPr>
                      <a:endParaRPr lang="en-US" sz="900" dirty="0"/>
                    </a:p>
                  </a:txBody>
                  <a:tcPr>
                    <a:solidFill>
                      <a:srgbClr val="E2F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629676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9290C2E9-7FF2-4875-9AF9-DAE8911317C6}"/>
              </a:ext>
            </a:extLst>
          </p:cNvPr>
          <p:cNvSpPr/>
          <p:nvPr/>
        </p:nvSpPr>
        <p:spPr>
          <a:xfrm>
            <a:off x="4362562" y="4469500"/>
            <a:ext cx="2194405" cy="248770"/>
          </a:xfrm>
          <a:prstGeom prst="rect">
            <a:avLst/>
          </a:prstGeom>
          <a:solidFill>
            <a:srgbClr val="F4F2F2"/>
          </a:solidFill>
          <a:ln>
            <a:solidFill>
              <a:srgbClr val="00B0F0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en-US" sz="1000" kern="0" dirty="0">
                <a:solidFill>
                  <a:srgbClr val="000000"/>
                </a:solidFill>
                <a:latin typeface="Allianz Neo" panose="020B0504020203020204" pitchFamily="34" charset="0"/>
              </a:rPr>
              <a:t>Attach CBA if Applicable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7CB1129-7C6F-4DE6-9794-A18DB13E5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48884"/>
              </p:ext>
            </p:extLst>
          </p:nvPr>
        </p:nvGraphicFramePr>
        <p:xfrm>
          <a:off x="6777037" y="3636524"/>
          <a:ext cx="4203617" cy="1681191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515538">
                  <a:extLst>
                    <a:ext uri="{9D8B030D-6E8A-4147-A177-3AD203B41FA5}">
                      <a16:colId xmlns:a16="http://schemas.microsoft.com/office/drawing/2014/main" val="2362165069"/>
                    </a:ext>
                  </a:extLst>
                </a:gridCol>
                <a:gridCol w="541020">
                  <a:extLst>
                    <a:ext uri="{9D8B030D-6E8A-4147-A177-3AD203B41FA5}">
                      <a16:colId xmlns:a16="http://schemas.microsoft.com/office/drawing/2014/main" val="668208523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2551547004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4188756017"/>
                    </a:ext>
                  </a:extLst>
                </a:gridCol>
                <a:gridCol w="777240">
                  <a:extLst>
                    <a:ext uri="{9D8B030D-6E8A-4147-A177-3AD203B41FA5}">
                      <a16:colId xmlns:a16="http://schemas.microsoft.com/office/drawing/2014/main" val="129989977"/>
                    </a:ext>
                  </a:extLst>
                </a:gridCol>
                <a:gridCol w="563880">
                  <a:extLst>
                    <a:ext uri="{9D8B030D-6E8A-4147-A177-3AD203B41FA5}">
                      <a16:colId xmlns:a16="http://schemas.microsoft.com/office/drawing/2014/main" val="3966523465"/>
                    </a:ext>
                  </a:extLst>
                </a:gridCol>
                <a:gridCol w="502919">
                  <a:extLst>
                    <a:ext uri="{9D8B030D-6E8A-4147-A177-3AD203B41FA5}">
                      <a16:colId xmlns:a16="http://schemas.microsoft.com/office/drawing/2014/main" val="22273302"/>
                    </a:ext>
                  </a:extLst>
                </a:gridCol>
              </a:tblGrid>
              <a:tr h="353864"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#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GDM Block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GDM Domain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GDM Sub-Domain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Business Capability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ritical per Normative Model?^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RTO/</a:t>
                      </a:r>
                    </a:p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b="1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RPO*</a:t>
                      </a:r>
                      <a:endParaRPr lang="en-SG" sz="750" b="1" baseline="3000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251632"/>
                  </a:ext>
                </a:extLst>
              </a:tr>
              <a:tr h="395607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3.2.1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ustomer centric domains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ales &amp; Distribution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erformance management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ales targets &amp; performance management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No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N.A.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6548234"/>
                  </a:ext>
                </a:extLst>
              </a:tr>
              <a:tr h="353864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3.5.3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ustomer centric domains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Sales &amp; Distribution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Distribution recruiting &amp; training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Distributor training</a:t>
                      </a:r>
                      <a:r>
                        <a:rPr lang="en-US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endParaRPr lang="en-SG" sz="750" i="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No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N.A.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4513414"/>
                  </a:ext>
                </a:extLst>
              </a:tr>
              <a:tr h="458254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.4.4.1/ 1.4.4.2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2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750" i="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ustomer centric domains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Policy Management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Underwriting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Individualised/ Standard UW review &amp; decision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 dirty="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ry High</a:t>
                      </a: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h RTO</a:t>
                      </a:r>
                    </a:p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SG" sz="750">
                          <a:solidFill>
                            <a:srgbClr val="122B54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5m RPO</a:t>
                      </a:r>
                      <a:endParaRPr lang="en-SG" sz="750" dirty="0">
                        <a:solidFill>
                          <a:srgbClr val="122B54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5646" marR="35646" marT="23764" marB="2376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4724222"/>
                  </a:ext>
                </a:extLst>
              </a:tr>
            </a:tbl>
          </a:graphicData>
        </a:graphic>
      </p:graphicFrame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83C7EEFF-95C0-49C8-8A28-886BE31D1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716" y="-284522"/>
            <a:ext cx="5075237" cy="252000"/>
          </a:xfrm>
        </p:spPr>
        <p:txBody>
          <a:bodyPr/>
          <a:lstStyle/>
          <a:p>
            <a:r>
              <a:rPr lang="de-DE" dirty="0"/>
              <a:t>PROJECT: Overview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18D0A2B-748F-4F18-8F20-F55D8C7CDF87}"/>
              </a:ext>
            </a:extLst>
          </p:cNvPr>
          <p:cNvSpPr txBox="1"/>
          <p:nvPr/>
        </p:nvSpPr>
        <p:spPr>
          <a:xfrm>
            <a:off x="6760278" y="5255362"/>
            <a:ext cx="4203617" cy="268517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SG" sz="800" dirty="0">
                <a:solidFill>
                  <a:srgbClr val="122B54"/>
                </a:solidFill>
              </a:rPr>
              <a:t>^Very High or High Impact Rating   *Recovery Time Objective/Recovery Point Objective</a:t>
            </a:r>
          </a:p>
        </p:txBody>
      </p:sp>
      <p:grpSp>
        <p:nvGrpSpPr>
          <p:cNvPr id="20" name="Gruppieren 301">
            <a:extLst>
              <a:ext uri="{FF2B5EF4-FFF2-40B4-BE49-F238E27FC236}">
                <a16:creationId xmlns:a16="http://schemas.microsoft.com/office/drawing/2014/main" id="{DD946BB1-78B1-4493-8086-3F8B2EB7DB6D}"/>
              </a:ext>
            </a:extLst>
          </p:cNvPr>
          <p:cNvGrpSpPr>
            <a:grpSpLocks noChangeAspect="1"/>
          </p:cNvGrpSpPr>
          <p:nvPr/>
        </p:nvGrpSpPr>
        <p:grpSpPr>
          <a:xfrm>
            <a:off x="8474942" y="146605"/>
            <a:ext cx="328528" cy="328528"/>
            <a:chOff x="4670970" y="4302153"/>
            <a:chExt cx="328528" cy="328528"/>
          </a:xfrm>
          <a:solidFill>
            <a:srgbClr val="007AB3"/>
          </a:solidFill>
        </p:grpSpPr>
        <p:sp>
          <p:nvSpPr>
            <p:cNvPr id="21" name="Freihandform 1289">
              <a:extLst>
                <a:ext uri="{FF2B5EF4-FFF2-40B4-BE49-F238E27FC236}">
                  <a16:creationId xmlns:a16="http://schemas.microsoft.com/office/drawing/2014/main" id="{C0E26927-227E-42A2-8EB5-1591FF18438F}"/>
                </a:ext>
              </a:extLst>
            </p:cNvPr>
            <p:cNvSpPr/>
            <p:nvPr/>
          </p:nvSpPr>
          <p:spPr>
            <a:xfrm>
              <a:off x="4670970" y="4302153"/>
              <a:ext cx="328528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2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6" y="337"/>
                    <a:pt x="1376" y="705"/>
                  </a:cubicBezTo>
                  <a:cubicBezTo>
                    <a:pt x="1376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2" y="1094"/>
                    <a:pt x="1412" y="705"/>
                  </a:cubicBezTo>
                  <a:cubicBezTo>
                    <a:pt x="1412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ihandform 1290">
              <a:extLst>
                <a:ext uri="{FF2B5EF4-FFF2-40B4-BE49-F238E27FC236}">
                  <a16:creationId xmlns:a16="http://schemas.microsoft.com/office/drawing/2014/main" id="{AE7DE44A-728E-42EC-B4FC-96E1549D775F}"/>
                </a:ext>
              </a:extLst>
            </p:cNvPr>
            <p:cNvSpPr/>
            <p:nvPr/>
          </p:nvSpPr>
          <p:spPr>
            <a:xfrm>
              <a:off x="4736397" y="4367812"/>
              <a:ext cx="196977" cy="196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846">
                  <a:moveTo>
                    <a:pt x="811" y="406"/>
                  </a:moveTo>
                  <a:lnTo>
                    <a:pt x="650" y="406"/>
                  </a:lnTo>
                  <a:cubicBezTo>
                    <a:pt x="648" y="357"/>
                    <a:pt x="642" y="313"/>
                    <a:pt x="629" y="273"/>
                  </a:cubicBezTo>
                  <a:cubicBezTo>
                    <a:pt x="686" y="247"/>
                    <a:pt x="720" y="216"/>
                    <a:pt x="737" y="194"/>
                  </a:cubicBezTo>
                  <a:cubicBezTo>
                    <a:pt x="781" y="256"/>
                    <a:pt x="809" y="330"/>
                    <a:pt x="811" y="406"/>
                  </a:cubicBezTo>
                  <a:close/>
                  <a:moveTo>
                    <a:pt x="737" y="654"/>
                  </a:moveTo>
                  <a:cubicBezTo>
                    <a:pt x="720" y="633"/>
                    <a:pt x="686" y="601"/>
                    <a:pt x="629" y="575"/>
                  </a:cubicBezTo>
                  <a:cubicBezTo>
                    <a:pt x="642" y="535"/>
                    <a:pt x="648" y="491"/>
                    <a:pt x="650" y="442"/>
                  </a:cubicBezTo>
                  <a:lnTo>
                    <a:pt x="811" y="442"/>
                  </a:lnTo>
                  <a:cubicBezTo>
                    <a:pt x="809" y="518"/>
                    <a:pt x="781" y="592"/>
                    <a:pt x="737" y="654"/>
                  </a:cubicBezTo>
                  <a:close/>
                  <a:moveTo>
                    <a:pt x="699" y="698"/>
                  </a:moveTo>
                  <a:cubicBezTo>
                    <a:pt x="644" y="753"/>
                    <a:pt x="576" y="789"/>
                    <a:pt x="500" y="804"/>
                  </a:cubicBezTo>
                  <a:cubicBezTo>
                    <a:pt x="536" y="766"/>
                    <a:pt x="587" y="700"/>
                    <a:pt x="618" y="609"/>
                  </a:cubicBezTo>
                  <a:cubicBezTo>
                    <a:pt x="673" y="633"/>
                    <a:pt x="703" y="664"/>
                    <a:pt x="714" y="681"/>
                  </a:cubicBezTo>
                  <a:cubicBezTo>
                    <a:pt x="709" y="688"/>
                    <a:pt x="705" y="692"/>
                    <a:pt x="699" y="698"/>
                  </a:cubicBezTo>
                  <a:close/>
                  <a:moveTo>
                    <a:pt x="443" y="810"/>
                  </a:moveTo>
                  <a:lnTo>
                    <a:pt x="443" y="573"/>
                  </a:lnTo>
                  <a:cubicBezTo>
                    <a:pt x="500" y="573"/>
                    <a:pt x="549" y="584"/>
                    <a:pt x="587" y="597"/>
                  </a:cubicBezTo>
                  <a:cubicBezTo>
                    <a:pt x="542" y="721"/>
                    <a:pt x="462" y="795"/>
                    <a:pt x="443" y="810"/>
                  </a:cubicBezTo>
                  <a:close/>
                  <a:moveTo>
                    <a:pt x="443" y="442"/>
                  </a:moveTo>
                  <a:lnTo>
                    <a:pt x="614" y="442"/>
                  </a:lnTo>
                  <a:cubicBezTo>
                    <a:pt x="612" y="484"/>
                    <a:pt x="606" y="525"/>
                    <a:pt x="597" y="563"/>
                  </a:cubicBezTo>
                  <a:cubicBezTo>
                    <a:pt x="555" y="548"/>
                    <a:pt x="504" y="539"/>
                    <a:pt x="443" y="537"/>
                  </a:cubicBezTo>
                  <a:close/>
                  <a:moveTo>
                    <a:pt x="443" y="311"/>
                  </a:moveTo>
                  <a:cubicBezTo>
                    <a:pt x="504" y="309"/>
                    <a:pt x="555" y="298"/>
                    <a:pt x="597" y="285"/>
                  </a:cubicBezTo>
                  <a:cubicBezTo>
                    <a:pt x="606" y="321"/>
                    <a:pt x="612" y="362"/>
                    <a:pt x="614" y="406"/>
                  </a:cubicBezTo>
                  <a:lnTo>
                    <a:pt x="443" y="406"/>
                  </a:lnTo>
                  <a:close/>
                  <a:moveTo>
                    <a:pt x="443" y="36"/>
                  </a:moveTo>
                  <a:cubicBezTo>
                    <a:pt x="462" y="53"/>
                    <a:pt x="542" y="127"/>
                    <a:pt x="587" y="252"/>
                  </a:cubicBezTo>
                  <a:cubicBezTo>
                    <a:pt x="549" y="264"/>
                    <a:pt x="500" y="273"/>
                    <a:pt x="443" y="275"/>
                  </a:cubicBezTo>
                  <a:close/>
                  <a:moveTo>
                    <a:pt x="699" y="150"/>
                  </a:moveTo>
                  <a:cubicBezTo>
                    <a:pt x="705" y="154"/>
                    <a:pt x="709" y="160"/>
                    <a:pt x="714" y="167"/>
                  </a:cubicBezTo>
                  <a:cubicBezTo>
                    <a:pt x="703" y="182"/>
                    <a:pt x="673" y="213"/>
                    <a:pt x="618" y="239"/>
                  </a:cubicBezTo>
                  <a:cubicBezTo>
                    <a:pt x="587" y="146"/>
                    <a:pt x="536" y="80"/>
                    <a:pt x="500" y="44"/>
                  </a:cubicBezTo>
                  <a:cubicBezTo>
                    <a:pt x="576" y="59"/>
                    <a:pt x="644" y="95"/>
                    <a:pt x="699" y="150"/>
                  </a:cubicBezTo>
                  <a:close/>
                  <a:moveTo>
                    <a:pt x="407" y="275"/>
                  </a:moveTo>
                  <a:cubicBezTo>
                    <a:pt x="347" y="273"/>
                    <a:pt x="301" y="264"/>
                    <a:pt x="263" y="252"/>
                  </a:cubicBezTo>
                  <a:cubicBezTo>
                    <a:pt x="307" y="127"/>
                    <a:pt x="388" y="53"/>
                    <a:pt x="405" y="36"/>
                  </a:cubicBezTo>
                  <a:cubicBezTo>
                    <a:pt x="407" y="36"/>
                    <a:pt x="407" y="36"/>
                    <a:pt x="407" y="36"/>
                  </a:cubicBezTo>
                  <a:close/>
                  <a:moveTo>
                    <a:pt x="407" y="406"/>
                  </a:moveTo>
                  <a:lnTo>
                    <a:pt x="233" y="406"/>
                  </a:lnTo>
                  <a:cubicBezTo>
                    <a:pt x="235" y="362"/>
                    <a:pt x="242" y="321"/>
                    <a:pt x="252" y="285"/>
                  </a:cubicBezTo>
                  <a:cubicBezTo>
                    <a:pt x="292" y="298"/>
                    <a:pt x="343" y="309"/>
                    <a:pt x="407" y="311"/>
                  </a:cubicBezTo>
                  <a:close/>
                  <a:moveTo>
                    <a:pt x="407" y="537"/>
                  </a:moveTo>
                  <a:cubicBezTo>
                    <a:pt x="343" y="539"/>
                    <a:pt x="292" y="548"/>
                    <a:pt x="252" y="563"/>
                  </a:cubicBezTo>
                  <a:cubicBezTo>
                    <a:pt x="242" y="525"/>
                    <a:pt x="235" y="484"/>
                    <a:pt x="233" y="442"/>
                  </a:cubicBezTo>
                  <a:lnTo>
                    <a:pt x="407" y="442"/>
                  </a:lnTo>
                  <a:close/>
                  <a:moveTo>
                    <a:pt x="407" y="810"/>
                  </a:moveTo>
                  <a:lnTo>
                    <a:pt x="405" y="810"/>
                  </a:lnTo>
                  <a:cubicBezTo>
                    <a:pt x="388" y="795"/>
                    <a:pt x="307" y="721"/>
                    <a:pt x="263" y="597"/>
                  </a:cubicBezTo>
                  <a:cubicBezTo>
                    <a:pt x="301" y="584"/>
                    <a:pt x="347" y="573"/>
                    <a:pt x="407" y="573"/>
                  </a:cubicBezTo>
                  <a:close/>
                  <a:moveTo>
                    <a:pt x="151" y="698"/>
                  </a:moveTo>
                  <a:cubicBezTo>
                    <a:pt x="144" y="692"/>
                    <a:pt x="140" y="688"/>
                    <a:pt x="134" y="681"/>
                  </a:cubicBezTo>
                  <a:cubicBezTo>
                    <a:pt x="146" y="664"/>
                    <a:pt x="176" y="635"/>
                    <a:pt x="229" y="609"/>
                  </a:cubicBezTo>
                  <a:cubicBezTo>
                    <a:pt x="263" y="700"/>
                    <a:pt x="314" y="766"/>
                    <a:pt x="347" y="804"/>
                  </a:cubicBezTo>
                  <a:cubicBezTo>
                    <a:pt x="273" y="789"/>
                    <a:pt x="206" y="753"/>
                    <a:pt x="151" y="698"/>
                  </a:cubicBezTo>
                  <a:close/>
                  <a:moveTo>
                    <a:pt x="112" y="654"/>
                  </a:moveTo>
                  <a:cubicBezTo>
                    <a:pt x="66" y="592"/>
                    <a:pt x="41" y="518"/>
                    <a:pt x="36" y="442"/>
                  </a:cubicBezTo>
                  <a:lnTo>
                    <a:pt x="199" y="442"/>
                  </a:lnTo>
                  <a:cubicBezTo>
                    <a:pt x="199" y="491"/>
                    <a:pt x="208" y="535"/>
                    <a:pt x="218" y="575"/>
                  </a:cubicBezTo>
                  <a:cubicBezTo>
                    <a:pt x="163" y="601"/>
                    <a:pt x="129" y="633"/>
                    <a:pt x="112" y="654"/>
                  </a:cubicBezTo>
                  <a:close/>
                  <a:moveTo>
                    <a:pt x="112" y="194"/>
                  </a:moveTo>
                  <a:cubicBezTo>
                    <a:pt x="129" y="216"/>
                    <a:pt x="163" y="247"/>
                    <a:pt x="218" y="273"/>
                  </a:cubicBezTo>
                  <a:cubicBezTo>
                    <a:pt x="208" y="313"/>
                    <a:pt x="199" y="357"/>
                    <a:pt x="199" y="406"/>
                  </a:cubicBezTo>
                  <a:lnTo>
                    <a:pt x="36" y="406"/>
                  </a:lnTo>
                  <a:cubicBezTo>
                    <a:pt x="41" y="330"/>
                    <a:pt x="66" y="256"/>
                    <a:pt x="112" y="194"/>
                  </a:cubicBezTo>
                  <a:close/>
                  <a:moveTo>
                    <a:pt x="151" y="150"/>
                  </a:moveTo>
                  <a:cubicBezTo>
                    <a:pt x="206" y="95"/>
                    <a:pt x="273" y="59"/>
                    <a:pt x="347" y="44"/>
                  </a:cubicBezTo>
                  <a:cubicBezTo>
                    <a:pt x="314" y="80"/>
                    <a:pt x="263" y="146"/>
                    <a:pt x="229" y="239"/>
                  </a:cubicBezTo>
                  <a:cubicBezTo>
                    <a:pt x="174" y="213"/>
                    <a:pt x="146" y="184"/>
                    <a:pt x="134" y="167"/>
                  </a:cubicBezTo>
                  <a:cubicBezTo>
                    <a:pt x="140" y="160"/>
                    <a:pt x="144" y="154"/>
                    <a:pt x="151" y="150"/>
                  </a:cubicBezTo>
                  <a:close/>
                  <a:moveTo>
                    <a:pt x="424" y="0"/>
                  </a:moveTo>
                  <a:cubicBezTo>
                    <a:pt x="311" y="0"/>
                    <a:pt x="206" y="44"/>
                    <a:pt x="125" y="125"/>
                  </a:cubicBezTo>
                  <a:cubicBezTo>
                    <a:pt x="45" y="205"/>
                    <a:pt x="0" y="311"/>
                    <a:pt x="0" y="423"/>
                  </a:cubicBezTo>
                  <a:cubicBezTo>
                    <a:pt x="0" y="537"/>
                    <a:pt x="45" y="643"/>
                    <a:pt x="125" y="724"/>
                  </a:cubicBezTo>
                  <a:cubicBezTo>
                    <a:pt x="206" y="804"/>
                    <a:pt x="311" y="846"/>
                    <a:pt x="424" y="846"/>
                  </a:cubicBezTo>
                  <a:cubicBezTo>
                    <a:pt x="538" y="846"/>
                    <a:pt x="644" y="804"/>
                    <a:pt x="724" y="724"/>
                  </a:cubicBezTo>
                  <a:cubicBezTo>
                    <a:pt x="805" y="643"/>
                    <a:pt x="847" y="537"/>
                    <a:pt x="847" y="423"/>
                  </a:cubicBezTo>
                  <a:cubicBezTo>
                    <a:pt x="847" y="311"/>
                    <a:pt x="805" y="205"/>
                    <a:pt x="724" y="125"/>
                  </a:cubicBezTo>
                  <a:cubicBezTo>
                    <a:pt x="644" y="44"/>
                    <a:pt x="538" y="0"/>
                    <a:pt x="42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1D749680-F741-40B8-A369-E511EE30B62F}"/>
              </a:ext>
            </a:extLst>
          </p:cNvPr>
          <p:cNvSpPr/>
          <p:nvPr/>
        </p:nvSpPr>
        <p:spPr>
          <a:xfrm>
            <a:off x="8727927" y="164833"/>
            <a:ext cx="23134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SG" sz="1000" dirty="0">
                <a:solidFill>
                  <a:schemeClr val="bg1"/>
                </a:solidFill>
                <a:cs typeface="Calibri" panose="020F0502020204030204" pitchFamily="34" charset="0"/>
                <a:hlinkClick r:id="rId3"/>
              </a:rPr>
              <a:t>Generic Architecture Design Document</a:t>
            </a:r>
            <a:endParaRPr lang="en-SG" sz="10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062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475A9FE-DACC-41F7-B834-FD3C90D9A4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475A9FE-DACC-41F7-B834-FD3C90D9A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260D1-C400-40B5-BF78-325FA4720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426633"/>
            <a:ext cx="10367962" cy="900114"/>
          </a:xfrm>
        </p:spPr>
        <p:txBody>
          <a:bodyPr vert="horz"/>
          <a:lstStyle/>
          <a:p>
            <a:r>
              <a:rPr lang="en-SG" dirty="0"/>
              <a:t>Architecture Princip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30FF5B-1DF0-4EF2-A7A8-2BA070EB6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310303-3B44-4A16-894C-C0D27EA00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3" y="-257891"/>
            <a:ext cx="5075237" cy="252000"/>
          </a:xfrm>
        </p:spPr>
        <p:txBody>
          <a:bodyPr/>
          <a:lstStyle/>
          <a:p>
            <a:r>
              <a:rPr lang="de-DE" dirty="0"/>
              <a:t>Architecture: Assumptions, Risk &amp; Deb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8C31C-9781-4E4C-A8FD-9C31AD252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7" name="Tabellenplatzhalter 10">
            <a:extLst>
              <a:ext uri="{FF2B5EF4-FFF2-40B4-BE49-F238E27FC236}">
                <a16:creationId xmlns:a16="http://schemas.microsoft.com/office/drawing/2014/main" id="{161BA1E8-0D9E-4918-9399-CE7ADD0DFC16}"/>
              </a:ext>
            </a:extLst>
          </p:cNvPr>
          <p:cNvGraphicFramePr>
            <a:graphicFrameLocks/>
          </p:cNvGraphicFramePr>
          <p:nvPr/>
        </p:nvGraphicFramePr>
        <p:xfrm>
          <a:off x="177615" y="1123085"/>
          <a:ext cx="5365936" cy="2249022"/>
        </p:xfrm>
        <a:graphic>
          <a:graphicData uri="http://schemas.openxmlformats.org/drawingml/2006/table">
            <a:tbl>
              <a:tblPr/>
              <a:tblGrid>
                <a:gridCol w="370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4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015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Business Principles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baseline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E.g. Maximize benefit to the organization 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64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i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E.g. Business continuity 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  <p:graphicFrame>
        <p:nvGraphicFramePr>
          <p:cNvPr id="9" name="Tabellenplatzhalter 10">
            <a:extLst>
              <a:ext uri="{FF2B5EF4-FFF2-40B4-BE49-F238E27FC236}">
                <a16:creationId xmlns:a16="http://schemas.microsoft.com/office/drawing/2014/main" id="{B019878C-7D70-4C2F-B262-C81638D1D15C}"/>
              </a:ext>
            </a:extLst>
          </p:cNvPr>
          <p:cNvGraphicFramePr>
            <a:graphicFrameLocks/>
          </p:cNvGraphicFramePr>
          <p:nvPr/>
        </p:nvGraphicFramePr>
        <p:xfrm>
          <a:off x="5652295" y="1117972"/>
          <a:ext cx="5365936" cy="2249021"/>
        </p:xfrm>
        <a:graphic>
          <a:graphicData uri="http://schemas.openxmlformats.org/drawingml/2006/table">
            <a:tbl>
              <a:tblPr/>
              <a:tblGrid>
                <a:gridCol w="420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51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966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Application Principles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35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900" i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  <p:graphicFrame>
        <p:nvGraphicFramePr>
          <p:cNvPr id="11" name="Tabellenplatzhalter 10">
            <a:extLst>
              <a:ext uri="{FF2B5EF4-FFF2-40B4-BE49-F238E27FC236}">
                <a16:creationId xmlns:a16="http://schemas.microsoft.com/office/drawing/2014/main" id="{637614B2-A32E-4E56-8202-89413B520688}"/>
              </a:ext>
            </a:extLst>
          </p:cNvPr>
          <p:cNvGraphicFramePr>
            <a:graphicFrameLocks/>
          </p:cNvGraphicFramePr>
          <p:nvPr/>
        </p:nvGraphicFramePr>
        <p:xfrm>
          <a:off x="177615" y="3585270"/>
          <a:ext cx="5365936" cy="2249022"/>
        </p:xfrm>
        <a:graphic>
          <a:graphicData uri="http://schemas.openxmlformats.org/drawingml/2006/table">
            <a:tbl>
              <a:tblPr/>
              <a:tblGrid>
                <a:gridCol w="370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94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015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Data Principles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64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900" i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  <p:graphicFrame>
        <p:nvGraphicFramePr>
          <p:cNvPr id="12" name="Tabellenplatzhalter 10">
            <a:extLst>
              <a:ext uri="{FF2B5EF4-FFF2-40B4-BE49-F238E27FC236}">
                <a16:creationId xmlns:a16="http://schemas.microsoft.com/office/drawing/2014/main" id="{B28D32EE-6025-4434-92D8-C1F36BEBB065}"/>
              </a:ext>
            </a:extLst>
          </p:cNvPr>
          <p:cNvGraphicFramePr>
            <a:graphicFrameLocks/>
          </p:cNvGraphicFramePr>
          <p:nvPr/>
        </p:nvGraphicFramePr>
        <p:xfrm>
          <a:off x="5652295" y="3580157"/>
          <a:ext cx="5365936" cy="2249021"/>
        </p:xfrm>
        <a:graphic>
          <a:graphicData uri="http://schemas.openxmlformats.org/drawingml/2006/table">
            <a:tbl>
              <a:tblPr/>
              <a:tblGrid>
                <a:gridCol w="420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51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966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echnology Principles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baseline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E.g. Do not migrate toxic components … 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35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900" i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0605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260D1-C400-40B5-BF78-325FA4720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426633"/>
            <a:ext cx="10367962" cy="900114"/>
          </a:xfrm>
        </p:spPr>
        <p:txBody>
          <a:bodyPr/>
          <a:lstStyle/>
          <a:p>
            <a:r>
              <a:rPr lang="en-SG" dirty="0"/>
              <a:t>Architecture Assumptions, Risk &amp; Deb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30FF5B-1DF0-4EF2-A7A8-2BA070EB6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310303-3B44-4A16-894C-C0D27EA00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3" y="-257891"/>
            <a:ext cx="5075237" cy="252000"/>
          </a:xfrm>
        </p:spPr>
        <p:txBody>
          <a:bodyPr/>
          <a:lstStyle/>
          <a:p>
            <a:r>
              <a:rPr lang="de-DE" dirty="0"/>
              <a:t>Architecture: Assumptions, Risk &amp; Deb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8C31C-9781-4E4C-A8FD-9C31AD252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4</a:t>
            </a:fld>
            <a:endParaRPr lang="de-DE"/>
          </a:p>
        </p:txBody>
      </p:sp>
      <p:graphicFrame>
        <p:nvGraphicFramePr>
          <p:cNvPr id="7" name="Tabellenplatzhalter 10">
            <a:extLst>
              <a:ext uri="{FF2B5EF4-FFF2-40B4-BE49-F238E27FC236}">
                <a16:creationId xmlns:a16="http://schemas.microsoft.com/office/drawing/2014/main" id="{161BA1E8-0D9E-4918-9399-CE7ADD0DFC16}"/>
              </a:ext>
            </a:extLst>
          </p:cNvPr>
          <p:cNvGraphicFramePr>
            <a:graphicFrameLocks/>
          </p:cNvGraphicFramePr>
          <p:nvPr/>
        </p:nvGraphicFramePr>
        <p:xfrm>
          <a:off x="177614" y="1123085"/>
          <a:ext cx="5861236" cy="2249022"/>
        </p:xfrm>
        <a:graphic>
          <a:graphicData uri="http://schemas.openxmlformats.org/drawingml/2006/table">
            <a:tbl>
              <a:tblPr/>
              <a:tblGrid>
                <a:gridCol w="3641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3325">
                  <a:extLst>
                    <a:ext uri="{9D8B030D-6E8A-4147-A177-3AD203B41FA5}">
                      <a16:colId xmlns:a16="http://schemas.microsoft.com/office/drawing/2014/main" val="2766166652"/>
                    </a:ext>
                  </a:extLst>
                </a:gridCol>
                <a:gridCol w="4903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015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HASE</a:t>
                      </a:r>
                      <a:endParaRPr lang="en-US" altLang="en-US" sz="10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/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ARCHITECTURE ASSUMPTIONS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baseline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Implement API strategy for core services to be delivered to internal platform and partner network digital / non-digital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64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i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Further extensions should be built to enable Open API integration where possible.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123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mmon functionalities will be abstracted out to create a framework and will facilitate reuse for subsequent applications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0" kern="120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  <a:sym typeface="Wingdings" pitchFamily="2" charset="2"/>
                        </a:rPr>
                        <a:t>Defined service layer and meets performance requirements for the business volumes</a:t>
                      </a: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44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  <p:graphicFrame>
        <p:nvGraphicFramePr>
          <p:cNvPr id="8" name="Tabellenplatzhalter 10">
            <a:extLst>
              <a:ext uri="{FF2B5EF4-FFF2-40B4-BE49-F238E27FC236}">
                <a16:creationId xmlns:a16="http://schemas.microsoft.com/office/drawing/2014/main" id="{4254703B-CF56-476C-901F-4CA2093AFD47}"/>
              </a:ext>
            </a:extLst>
          </p:cNvPr>
          <p:cNvGraphicFramePr>
            <a:graphicFrameLocks/>
          </p:cNvGraphicFramePr>
          <p:nvPr/>
        </p:nvGraphicFramePr>
        <p:xfrm>
          <a:off x="177613" y="3631105"/>
          <a:ext cx="10874558" cy="2433170"/>
        </p:xfrm>
        <a:graphic>
          <a:graphicData uri="http://schemas.openxmlformats.org/drawingml/2006/table">
            <a:tbl>
              <a:tblPr/>
              <a:tblGrid>
                <a:gridCol w="355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5437">
                  <a:extLst>
                    <a:ext uri="{9D8B030D-6E8A-4147-A177-3AD203B41FA5}">
                      <a16:colId xmlns:a16="http://schemas.microsoft.com/office/drawing/2014/main" val="2766166652"/>
                    </a:ext>
                  </a:extLst>
                </a:gridCol>
                <a:gridCol w="42819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852196050"/>
                    </a:ext>
                  </a:extLst>
                </a:gridCol>
                <a:gridCol w="3952192">
                  <a:extLst>
                    <a:ext uri="{9D8B030D-6E8A-4147-A177-3AD203B41FA5}">
                      <a16:colId xmlns:a16="http://schemas.microsoft.com/office/drawing/2014/main" val="1109474630"/>
                    </a:ext>
                  </a:extLst>
                </a:gridCol>
                <a:gridCol w="1080179">
                  <a:extLst>
                    <a:ext uri="{9D8B030D-6E8A-4147-A177-3AD203B41FA5}">
                      <a16:colId xmlns:a16="http://schemas.microsoft.com/office/drawing/2014/main" val="1266694940"/>
                    </a:ext>
                  </a:extLst>
                </a:gridCol>
              </a:tblGrid>
              <a:tr h="369028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HASE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ARCHITECTURE RISK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, M, L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sz="1000" b="1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MITIGATION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RESIDUAL RISK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H, M,</a:t>
                      </a:r>
                      <a:r>
                        <a:rPr lang="en-US" altLang="en-US" sz="1000" b="1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 L</a:t>
                      </a:r>
                      <a:endParaRPr lang="en-US" altLang="en-US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Allianz Sans" panose="02000506030000020004" pitchFamily="2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895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aintaining different API Versions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during interim period and to cater to different devices and partners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2922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atency issues with requests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crisscrossing across SG and TH data centers (especially with CRP, Email and SAP systems)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rovide actions for Hig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baseline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4895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erving both ITMP and OPUS from </a:t>
                      </a:r>
                      <a:r>
                        <a:rPr lang="en-US" altLang="en-US" sz="900" i="0" kern="0" dirty="0" err="1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torFQ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where </a:t>
                      </a:r>
                      <a:r>
                        <a:rPr lang="en-US" altLang="en-US" sz="900" i="0" kern="0" baseline="0" dirty="0" err="1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torFQ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has to maintain both old and new services to connect to both systems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rovide actions for Hig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altLang="en-US" sz="900" i="0" kern="0" baseline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869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On renewal data migration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from OPUS to ITMP process to be analyzed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06869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TMP CISL changes for the APIs that are</a:t>
                      </a:r>
                      <a:r>
                        <a:rPr lang="en-US" altLang="en-US" sz="900" i="0" kern="0" baseline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needed for TH Insurance process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029271"/>
                  </a:ext>
                </a:extLst>
              </a:tr>
            </a:tbl>
          </a:graphicData>
        </a:graphic>
      </p:graphicFrame>
      <p:graphicFrame>
        <p:nvGraphicFramePr>
          <p:cNvPr id="9" name="Tabellenplatzhalter 10">
            <a:extLst>
              <a:ext uri="{FF2B5EF4-FFF2-40B4-BE49-F238E27FC236}">
                <a16:creationId xmlns:a16="http://schemas.microsoft.com/office/drawing/2014/main" id="{B019878C-7D70-4C2F-B262-C81638D1D15C}"/>
              </a:ext>
            </a:extLst>
          </p:cNvPr>
          <p:cNvGraphicFramePr>
            <a:graphicFrameLocks/>
          </p:cNvGraphicFramePr>
          <p:nvPr/>
        </p:nvGraphicFramePr>
        <p:xfrm>
          <a:off x="6079982" y="1115409"/>
          <a:ext cx="4945206" cy="2249021"/>
        </p:xfrm>
        <a:graphic>
          <a:graphicData uri="http://schemas.openxmlformats.org/drawingml/2006/table">
            <a:tbl>
              <a:tblPr/>
              <a:tblGrid>
                <a:gridCol w="3415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148">
                  <a:extLst>
                    <a:ext uri="{9D8B030D-6E8A-4147-A177-3AD203B41FA5}">
                      <a16:colId xmlns:a16="http://schemas.microsoft.com/office/drawing/2014/main" val="2766166652"/>
                    </a:ext>
                  </a:extLst>
                </a:gridCol>
                <a:gridCol w="40135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966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#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GB" altLang="en-US" sz="10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HASE</a:t>
                      </a:r>
                      <a:endParaRPr lang="en-US" altLang="en-US" sz="1000" kern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Allianz Sans" panose="02000506030000020004" pitchFamily="2" charset="0"/>
                          <a:cs typeface="Calibri" panose="020F0502020204030204" pitchFamily="34" charset="0"/>
                        </a:rPr>
                        <a:t>TECHNICAL DEBT</a:t>
                      </a:r>
                    </a:p>
                  </a:txBody>
                  <a:tcPr marL="216000" marR="216000" marT="71972" marB="71972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2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900" b="0" i="0" kern="1200" baseline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Are there technical, licencing, lifecycle, support or version issues with the software stack that need addressing? </a:t>
                      </a: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35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en-US" sz="900" i="0" dirty="0">
                          <a:solidFill>
                            <a:srgbClr val="122B54"/>
                          </a:solidFill>
                          <a:latin typeface="+mn-lt"/>
                          <a:ea typeface="Arial" charset="0"/>
                          <a:cs typeface="Calibri" panose="020F0502020204030204" pitchFamily="34" charset="0"/>
                        </a:rPr>
                        <a:t>Does the Architecture already have significant IT Debt? I.e. are we building more on a bad foundation?</a:t>
                      </a:r>
                      <a:endParaRPr lang="en-US" altLang="en-US" sz="900" i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31"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0" latinLnBrk="0" hangingPunct="0">
                        <a:defRPr sz="2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algn="l" defTabSz="1218926" rtl="0" eaLnBrk="0" latinLnBrk="0" hangingPunct="0">
                        <a:buFont typeface="Arial" panose="020B0604020202020204" pitchFamily="34" charset="0"/>
                        <a:defRPr sz="16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defTabSz="1218926" rtl="0" eaLnBrk="0" latinLnBrk="0" hangingPunct="0">
                        <a:defRPr sz="14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defTabSz="1218926" rtl="0" eaLnBrk="0" latinLnBrk="0" hangingPunct="0">
                        <a:buFont typeface="Arial" panose="020B0604020202020204" pitchFamily="34" charset="0"/>
                        <a:defRPr sz="12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defTabSz="1218926" rtl="0" eaLnBrk="0" latinLnBrk="0" hangingPunct="0"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algn="l" defTabSz="1218926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Font typeface="Arial" panose="020B0604020202020204" pitchFamily="34" charset="0"/>
                        <a:defRPr sz="1000" kern="1200">
                          <a:solidFill>
                            <a:srgbClr val="0E307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SG" altLang="en-US" sz="900" i="0" kern="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re the technologies upon which we are building listed as strategic on the Technology Roadmap?</a:t>
                      </a: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0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314203"/>
                  </a:ext>
                </a:extLst>
              </a:tr>
              <a:tr h="33792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</a:pPr>
                      <a:endParaRPr lang="en-US" altLang="en-US" sz="900" i="1" kern="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AE6"/>
                    </a:solidFill>
                  </a:tcPr>
                </a:tc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E307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kern="1200" baseline="0" dirty="0">
                        <a:solidFill>
                          <a:srgbClr val="122B54"/>
                        </a:solidFill>
                        <a:latin typeface="+mn-lt"/>
                        <a:ea typeface="Arial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09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0830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BDA082-E299-4718-8BFC-E6986C3EF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00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BDA082-E299-4718-8BFC-E6986C3EF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B3FFA01-208A-4221-A526-08D7C9637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362813"/>
            <a:ext cx="10367962" cy="900114"/>
          </a:xfrm>
        </p:spPr>
        <p:txBody>
          <a:bodyPr vert="horz"/>
          <a:lstStyle/>
          <a:p>
            <a:r>
              <a:rPr lang="de-DE" dirty="0"/>
              <a:t>Cloud Account </a:t>
            </a:r>
            <a:r>
              <a:rPr lang="de-DE" dirty="0" err="1"/>
              <a:t>Structure</a:t>
            </a:r>
            <a:br>
              <a:rPr lang="de-DE" dirty="0"/>
            </a:br>
            <a:endParaRPr lang="de-DE" sz="2400" dirty="0">
              <a:solidFill>
                <a:srgbClr val="13A0D3"/>
              </a:solidFill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E13BCB8-A185-4C0D-B57D-69A0E82575A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CB2939B-30B0-4FCE-A680-53317BC7B1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791E0B-6510-4C09-8357-C147B75AB409}"/>
              </a:ext>
            </a:extLst>
          </p:cNvPr>
          <p:cNvSpPr txBox="1">
            <a:spLocks/>
          </p:cNvSpPr>
          <p:nvPr/>
        </p:nvSpPr>
        <p:spPr>
          <a:xfrm>
            <a:off x="389549" y="149156"/>
            <a:ext cx="4261269" cy="158179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80975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THE AS-IS AND TO-BE PROCESS</a:t>
            </a:r>
          </a:p>
        </p:txBody>
      </p:sp>
      <p:grpSp>
        <p:nvGrpSpPr>
          <p:cNvPr id="20" name="Gruppieren 602">
            <a:extLst>
              <a:ext uri="{FF2B5EF4-FFF2-40B4-BE49-F238E27FC236}">
                <a16:creationId xmlns:a16="http://schemas.microsoft.com/office/drawing/2014/main" id="{30685DC8-5EC7-4999-9E99-977AC5FAE55C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1" name="Freihandform 1590">
              <a:extLst>
                <a:ext uri="{FF2B5EF4-FFF2-40B4-BE49-F238E27FC236}">
                  <a16:creationId xmlns:a16="http://schemas.microsoft.com/office/drawing/2014/main" id="{CC8E73F5-EDA3-41C4-B490-ECFDBB61A674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ihandform 1591">
              <a:extLst>
                <a:ext uri="{FF2B5EF4-FFF2-40B4-BE49-F238E27FC236}">
                  <a16:creationId xmlns:a16="http://schemas.microsoft.com/office/drawing/2014/main" id="{00352BD5-B448-49B1-A78C-B30544AF3E97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ihandform 1592">
              <a:extLst>
                <a:ext uri="{FF2B5EF4-FFF2-40B4-BE49-F238E27FC236}">
                  <a16:creationId xmlns:a16="http://schemas.microsoft.com/office/drawing/2014/main" id="{9A65D3A2-C79B-467B-B3D5-D7D86CF56274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aphicFrame>
        <p:nvGraphicFramePr>
          <p:cNvPr id="264" name="Table 263">
            <a:extLst>
              <a:ext uri="{FF2B5EF4-FFF2-40B4-BE49-F238E27FC236}">
                <a16:creationId xmlns:a16="http://schemas.microsoft.com/office/drawing/2014/main" id="{A86C8DDB-B295-411C-80F9-F1EFE9EC4F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32185"/>
              </p:ext>
            </p:extLst>
          </p:nvPr>
        </p:nvGraphicFramePr>
        <p:xfrm>
          <a:off x="8333432" y="149156"/>
          <a:ext cx="2736000" cy="6186095"/>
        </p:xfrm>
        <a:graphic>
          <a:graphicData uri="http://schemas.openxmlformats.org/drawingml/2006/table">
            <a:tbl>
              <a:tblPr firstRow="1" bandRow="1"/>
              <a:tblGrid>
                <a:gridCol w="2736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823664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kern="1200" baseline="0" dirty="0">
                          <a:solidFill>
                            <a:srgbClr val="13A0D3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loud Account Structure </a:t>
                      </a: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to be implemente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36243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Cloud Service Provider: &lt;NAME&gt;</a:t>
                      </a: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 Design Concept E.g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Accounts used to control blast radius – Prod, DR, and Dev &amp; Tes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Accounts per dept to facilitate charge back</a:t>
                      </a: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 dirty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245B0B8-7934-414C-A6D7-E4B6CA820E31}"/>
              </a:ext>
            </a:extLst>
          </p:cNvPr>
          <p:cNvSpPr txBox="1"/>
          <p:nvPr/>
        </p:nvSpPr>
        <p:spPr>
          <a:xfrm>
            <a:off x="2556984" y="3240087"/>
            <a:ext cx="2944717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13A0D3"/>
                </a:solidFill>
              </a:rPr>
              <a:t>&lt;Illustrate Account Structure&gt;</a:t>
            </a:r>
          </a:p>
        </p:txBody>
      </p:sp>
    </p:spTree>
    <p:extLst>
      <p:ext uri="{BB962C8B-B14F-4D97-AF65-F5344CB8AC3E}">
        <p14:creationId xmlns:p14="http://schemas.microsoft.com/office/powerpoint/2010/main" val="563796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BDA082-E299-4718-8BFC-E6986C3EFC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BDA082-E299-4718-8BFC-E6986C3EF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0B3FFA01-208A-4221-A526-08D7C9637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362813"/>
            <a:ext cx="10367962" cy="900114"/>
          </a:xfrm>
        </p:spPr>
        <p:txBody>
          <a:bodyPr vert="horz"/>
          <a:lstStyle/>
          <a:p>
            <a:r>
              <a:rPr lang="de-DE" dirty="0"/>
              <a:t>Network Zoning</a:t>
            </a:r>
            <a:endParaRPr lang="de-DE" sz="2400" dirty="0">
              <a:solidFill>
                <a:srgbClr val="13A0D3"/>
              </a:solidFill>
            </a:endParaRP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E13BCB8-A185-4C0D-B57D-69A0E82575A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© Copyright Allianz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CB2939B-30B0-4FCE-A680-53317BC7B1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8791E0B-6510-4C09-8357-C147B75AB409}"/>
              </a:ext>
            </a:extLst>
          </p:cNvPr>
          <p:cNvSpPr txBox="1">
            <a:spLocks/>
          </p:cNvSpPr>
          <p:nvPr/>
        </p:nvSpPr>
        <p:spPr>
          <a:xfrm>
            <a:off x="389549" y="149156"/>
            <a:ext cx="4261269" cy="158179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80975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THE AS-IS AND TO-BE PROCESS</a:t>
            </a:r>
          </a:p>
        </p:txBody>
      </p:sp>
      <p:grpSp>
        <p:nvGrpSpPr>
          <p:cNvPr id="20" name="Gruppieren 602">
            <a:extLst>
              <a:ext uri="{FF2B5EF4-FFF2-40B4-BE49-F238E27FC236}">
                <a16:creationId xmlns:a16="http://schemas.microsoft.com/office/drawing/2014/main" id="{30685DC8-5EC7-4999-9E99-977AC5FAE55C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1" name="Freihandform 1590">
              <a:extLst>
                <a:ext uri="{FF2B5EF4-FFF2-40B4-BE49-F238E27FC236}">
                  <a16:creationId xmlns:a16="http://schemas.microsoft.com/office/drawing/2014/main" id="{CC8E73F5-EDA3-41C4-B490-ECFDBB61A674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ihandform 1591">
              <a:extLst>
                <a:ext uri="{FF2B5EF4-FFF2-40B4-BE49-F238E27FC236}">
                  <a16:creationId xmlns:a16="http://schemas.microsoft.com/office/drawing/2014/main" id="{00352BD5-B448-49B1-A78C-B30544AF3E97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ihandform 1592">
              <a:extLst>
                <a:ext uri="{FF2B5EF4-FFF2-40B4-BE49-F238E27FC236}">
                  <a16:creationId xmlns:a16="http://schemas.microsoft.com/office/drawing/2014/main" id="{9A65D3A2-C79B-467B-B3D5-D7D86CF56274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aphicFrame>
        <p:nvGraphicFramePr>
          <p:cNvPr id="264" name="Table 263">
            <a:extLst>
              <a:ext uri="{FF2B5EF4-FFF2-40B4-BE49-F238E27FC236}">
                <a16:creationId xmlns:a16="http://schemas.microsoft.com/office/drawing/2014/main" id="{A86C8DDB-B295-411C-80F9-F1EFE9EC4F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0796204"/>
              </p:ext>
            </p:extLst>
          </p:nvPr>
        </p:nvGraphicFramePr>
        <p:xfrm>
          <a:off x="8333432" y="149156"/>
          <a:ext cx="2736000" cy="5913491"/>
        </p:xfrm>
        <a:graphic>
          <a:graphicData uri="http://schemas.openxmlformats.org/drawingml/2006/table">
            <a:tbl>
              <a:tblPr firstRow="1" bandRow="1"/>
              <a:tblGrid>
                <a:gridCol w="2736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5510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kern="1200" baseline="0">
                          <a:solidFill>
                            <a:srgbClr val="13A0D3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etwork Zoning </a:t>
                      </a:r>
                      <a:r>
                        <a:rPr lang="en-SG" altLang="ko-KR" sz="12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to be implemented</a:t>
                      </a:r>
                      <a:endParaRPr lang="en-SG" altLang="ko-KR" sz="12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362431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Expectation is that network zoning will adhere to SCC+ zoning concept</a:t>
                      </a: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Design Concept: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Out-of-region disaster recovery –OR</a:t>
                      </a:r>
                      <a:r>
                        <a:rPr lang="en-US" sz="1100" kern="1200">
                          <a:solidFill>
                            <a:srgbClr val="122B54"/>
                          </a:solidFill>
                          <a:latin typeface="Lucida Sans Unicode"/>
                          <a:ea typeface="+mn-ea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 In-region disaster recovery due to data residency requirement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Utilize all Availability Zones for redundanc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Adhere to SCC+ network desig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122B54"/>
                          </a:solidFill>
                          <a:latin typeface="+mn-lt"/>
                          <a:cs typeface="Calibri" panose="020F0502020204030204" pitchFamily="34" charset="0"/>
                        </a:rPr>
                        <a:t>Sized with 50% growth capacity</a:t>
                      </a: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n-US" sz="11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900" dirty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245B0B8-7934-414C-A6D7-E4B6CA820E31}"/>
              </a:ext>
            </a:extLst>
          </p:cNvPr>
          <p:cNvSpPr txBox="1"/>
          <p:nvPr/>
        </p:nvSpPr>
        <p:spPr>
          <a:xfrm>
            <a:off x="1045441" y="2223992"/>
            <a:ext cx="6145913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13A0D3"/>
                </a:solidFill>
              </a:rPr>
              <a:t>&lt;Illustrate Network Zoning: Regions, VPCs, AZs, and subnets&gt;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CCD927CA-7023-43C4-A32A-65BBC13EB5B3}"/>
              </a:ext>
            </a:extLst>
          </p:cNvPr>
          <p:cNvGraphicFramePr>
            <a:graphicFrameLocks noGrp="1"/>
          </p:cNvGraphicFramePr>
          <p:nvPr/>
        </p:nvGraphicFramePr>
        <p:xfrm>
          <a:off x="333372" y="4914095"/>
          <a:ext cx="7690802" cy="129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2633">
                  <a:extLst>
                    <a:ext uri="{9D8B030D-6E8A-4147-A177-3AD203B41FA5}">
                      <a16:colId xmlns:a16="http://schemas.microsoft.com/office/drawing/2014/main" val="3326030530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136060963"/>
                    </a:ext>
                  </a:extLst>
                </a:gridCol>
                <a:gridCol w="5103809">
                  <a:extLst>
                    <a:ext uri="{9D8B030D-6E8A-4147-A177-3AD203B41FA5}">
                      <a16:colId xmlns:a16="http://schemas.microsoft.com/office/drawing/2014/main" val="12089350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Subn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CID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mar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293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Internet Ingr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/>
                        <a:t>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Hosts ALBs and security applian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804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Transition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43253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572206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9066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1216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9D53C52-A63D-4072-8862-98D5841FB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291027"/>
              </p:ext>
            </p:extLst>
          </p:nvPr>
        </p:nvGraphicFramePr>
        <p:xfrm>
          <a:off x="8326692" y="392509"/>
          <a:ext cx="2736000" cy="6002035"/>
        </p:xfrm>
        <a:graphic>
          <a:graphicData uri="http://schemas.openxmlformats.org/drawingml/2006/table">
            <a:tbl>
              <a:tblPr firstRow="1" bandRow="1"/>
              <a:tblGrid>
                <a:gridCol w="2736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514460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kern="1200" baseline="0" dirty="0">
                          <a:solidFill>
                            <a:srgbClr val="13A0D3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Infrastructure-as-Code </a:t>
                      </a:r>
                      <a:r>
                        <a:rPr lang="en-SG" altLang="ko-KR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to be implemente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487575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cribe infrastructure as code approach:</a:t>
                      </a: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cope of </a:t>
                      </a:r>
                      <a:r>
                        <a:rPr lang="en-US" sz="1200" kern="1200" dirty="0" err="1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aC</a:t>
                      </a:r>
                      <a:endParaRPr lang="en-US" sz="12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ocation of Repository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ramework/Tooling (e.g. Terraform, CloudFormation, </a:t>
                      </a:r>
                      <a:r>
                        <a:rPr lang="en-US" sz="1200" kern="1200" dirty="0" err="1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122B54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vOps Pipeline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11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9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endParaRPr lang="en-US" sz="1400" dirty="0">
                        <a:solidFill>
                          <a:srgbClr val="122B54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205740" y="296417"/>
            <a:ext cx="7897504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800" dirty="0"/>
              <a:t>Infrastructure-As-Code</a:t>
            </a:r>
            <a:endParaRPr lang="en-US" sz="2800" dirty="0">
              <a:solidFill>
                <a:srgbClr val="13A0D3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49AAA7C-E8A1-444D-8214-E283AD1939F6}"/>
              </a:ext>
            </a:extLst>
          </p:cNvPr>
          <p:cNvSpPr txBox="1"/>
          <p:nvPr/>
        </p:nvSpPr>
        <p:spPr>
          <a:xfrm>
            <a:off x="1045441" y="2223992"/>
            <a:ext cx="2803653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13A0D3"/>
                </a:solidFill>
              </a:rPr>
              <a:t>&lt;Illustrate DevOps Pipeline&gt;</a:t>
            </a:r>
          </a:p>
        </p:txBody>
      </p:sp>
    </p:spTree>
    <p:extLst>
      <p:ext uri="{BB962C8B-B14F-4D97-AF65-F5344CB8AC3E}">
        <p14:creationId xmlns:p14="http://schemas.microsoft.com/office/powerpoint/2010/main" val="2307193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7C15DE-9D30-45DF-87CE-DEA7422FCC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52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7C15DE-9D30-45DF-87CE-DEA7422FC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1036796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/>
              <a:t>Security View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0353320"/>
              </p:ext>
            </p:extLst>
          </p:nvPr>
        </p:nvGraphicFramePr>
        <p:xfrm>
          <a:off x="8040516" y="525964"/>
          <a:ext cx="3024000" cy="5907804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Security View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of the syste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Allianz Neo PP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D2A34D70-7085-4619-A9CD-D3681D5C85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766276"/>
              </p:ext>
            </p:extLst>
          </p:nvPr>
        </p:nvGraphicFramePr>
        <p:xfrm>
          <a:off x="291059" y="2725276"/>
          <a:ext cx="7680325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2041">
                  <a:extLst>
                    <a:ext uri="{9D8B030D-6E8A-4147-A177-3AD203B41FA5}">
                      <a16:colId xmlns:a16="http://schemas.microsoft.com/office/drawing/2014/main" val="4225442129"/>
                    </a:ext>
                  </a:extLst>
                </a:gridCol>
                <a:gridCol w="3014142">
                  <a:extLst>
                    <a:ext uri="{9D8B030D-6E8A-4147-A177-3AD203B41FA5}">
                      <a16:colId xmlns:a16="http://schemas.microsoft.com/office/drawing/2014/main" val="3672754398"/>
                    </a:ext>
                  </a:extLst>
                </a:gridCol>
                <a:gridCol w="3014142">
                  <a:extLst>
                    <a:ext uri="{9D8B030D-6E8A-4147-A177-3AD203B41FA5}">
                      <a16:colId xmlns:a16="http://schemas.microsoft.com/office/drawing/2014/main" val="3897550656"/>
                    </a:ext>
                  </a:extLst>
                </a:gridCol>
              </a:tblGrid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Compon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1934702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D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7557328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WA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9960987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Firew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1894612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IDS/I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6358771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Internet Prox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0061503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ncry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754920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P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3121163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I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20611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udit Logg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5249671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I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373970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Vul. Mgm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7254592"/>
                  </a:ext>
                </a:extLst>
              </a:tr>
              <a:tr h="135801">
                <a:tc>
                  <a:txBody>
                    <a:bodyPr/>
                    <a:lstStyle/>
                    <a:p>
                      <a:r>
                        <a:rPr lang="en-US" sz="1200" dirty="0"/>
                        <a:t>Patch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015442"/>
                  </a:ext>
                </a:extLst>
              </a:tr>
            </a:tbl>
          </a:graphicData>
        </a:graphic>
      </p:graphicFrame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6CA19C21-7779-493C-AFEB-C135DE489C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843382"/>
              </p:ext>
            </p:extLst>
          </p:nvPr>
        </p:nvGraphicFramePr>
        <p:xfrm>
          <a:off x="291059" y="977879"/>
          <a:ext cx="7680326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7306">
                  <a:extLst>
                    <a:ext uri="{9D8B030D-6E8A-4147-A177-3AD203B41FA5}">
                      <a16:colId xmlns:a16="http://schemas.microsoft.com/office/drawing/2014/main" val="15232607"/>
                    </a:ext>
                  </a:extLst>
                </a:gridCol>
                <a:gridCol w="6023020">
                  <a:extLst>
                    <a:ext uri="{9D8B030D-6E8A-4147-A177-3AD203B41FA5}">
                      <a16:colId xmlns:a16="http://schemas.microsoft.com/office/drawing/2014/main" val="30608604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Ro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28982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Infra Ad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571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Read-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456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6000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730721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73274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6385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D1414-1B46-4413-A871-41E6409A9F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-5400000">
            <a:off x="9594058" y="3726657"/>
            <a:ext cx="3384550" cy="46831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© Copyright Allianz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C27E0-C18B-4115-968D-4CCF2C2B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2174" y="5653089"/>
            <a:ext cx="468313" cy="82708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0F96B16C-3F5F-44BC-AFCC-8CBCBD90898D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ACE946A-C690-470E-90BC-F681CFBF24D3}"/>
              </a:ext>
            </a:extLst>
          </p:cNvPr>
          <p:cNvSpPr txBox="1">
            <a:spLocks/>
          </p:cNvSpPr>
          <p:nvPr/>
        </p:nvSpPr>
        <p:spPr>
          <a:xfrm>
            <a:off x="367429" y="129642"/>
            <a:ext cx="3282798" cy="146842"/>
          </a:xfrm>
          <a:prstGeom prst="rect">
            <a:avLst/>
          </a:prstGeom>
          <a:solidFill>
            <a:srgbClr val="FAB600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217549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239892" lvl="1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79784" lvl="2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719676" lvl="3" indent="-239964" defTabSz="1217549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959568" lvl="4" indent="-239964" defTabSz="1217549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6pPr>
            <a:lvl7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7pPr>
            <a:lvl8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8pPr>
            <a:lvl9pPr marL="1019630" indent="-177021" defTabSz="121754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5" baseline="0">
                <a:latin typeface="+mn-lt"/>
              </a:defRPr>
            </a:lvl9pPr>
          </a:lstStyle>
          <a:p>
            <a:pPr marL="170969" defTabSz="1150231">
              <a:buClr>
                <a:srgbClr val="000000"/>
              </a:buClr>
              <a:defRPr/>
            </a:pPr>
            <a:r>
              <a:rPr lang="en-US" sz="1100" b="1" i="1" kern="0" dirty="0">
                <a:solidFill>
                  <a:srgbClr val="122B5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Y THIS DIAGRAM TO DESCRIBE ARCHITECTURE</a:t>
            </a:r>
          </a:p>
        </p:txBody>
      </p:sp>
      <p:grpSp>
        <p:nvGrpSpPr>
          <p:cNvPr id="25" name="Gruppieren 602">
            <a:extLst>
              <a:ext uri="{FF2B5EF4-FFF2-40B4-BE49-F238E27FC236}">
                <a16:creationId xmlns:a16="http://schemas.microsoft.com/office/drawing/2014/main" id="{FBA2A8C7-633B-4B9F-814E-534AB8B33BB8}"/>
              </a:ext>
            </a:extLst>
          </p:cNvPr>
          <p:cNvGrpSpPr>
            <a:grpSpLocks noChangeAspect="1"/>
          </p:cNvGrpSpPr>
          <p:nvPr/>
        </p:nvGrpSpPr>
        <p:grpSpPr>
          <a:xfrm>
            <a:off x="61253" y="63981"/>
            <a:ext cx="328296" cy="328528"/>
            <a:chOff x="10455168" y="2084642"/>
            <a:chExt cx="328296" cy="328528"/>
          </a:xfrm>
          <a:solidFill>
            <a:srgbClr val="007AB3"/>
          </a:solidFill>
        </p:grpSpPr>
        <p:sp>
          <p:nvSpPr>
            <p:cNvPr id="26" name="Freihandform 1590">
              <a:extLst>
                <a:ext uri="{FF2B5EF4-FFF2-40B4-BE49-F238E27FC236}">
                  <a16:creationId xmlns:a16="http://schemas.microsoft.com/office/drawing/2014/main" id="{E6F489E1-FBD3-42B0-8E68-0AA8D652E111}"/>
                </a:ext>
              </a:extLst>
            </p:cNvPr>
            <p:cNvSpPr/>
            <p:nvPr/>
          </p:nvSpPr>
          <p:spPr>
            <a:xfrm>
              <a:off x="10455168" y="208464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ihandform 1591">
              <a:extLst>
                <a:ext uri="{FF2B5EF4-FFF2-40B4-BE49-F238E27FC236}">
                  <a16:creationId xmlns:a16="http://schemas.microsoft.com/office/drawing/2014/main" id="{565C397C-0A4D-4667-A75D-9A50D40B1F09}"/>
                </a:ext>
              </a:extLst>
            </p:cNvPr>
            <p:cNvSpPr/>
            <p:nvPr/>
          </p:nvSpPr>
          <p:spPr>
            <a:xfrm>
              <a:off x="10553658" y="2150302"/>
              <a:ext cx="131318" cy="1888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65" h="812">
                  <a:moveTo>
                    <a:pt x="529" y="776"/>
                  </a:moveTo>
                  <a:lnTo>
                    <a:pt x="36" y="776"/>
                  </a:lnTo>
                  <a:lnTo>
                    <a:pt x="36" y="141"/>
                  </a:lnTo>
                  <a:lnTo>
                    <a:pt x="106" y="141"/>
                  </a:lnTo>
                  <a:lnTo>
                    <a:pt x="106" y="158"/>
                  </a:lnTo>
                  <a:cubicBezTo>
                    <a:pt x="106" y="169"/>
                    <a:pt x="114" y="177"/>
                    <a:pt x="123" y="177"/>
                  </a:cubicBezTo>
                  <a:lnTo>
                    <a:pt x="440" y="177"/>
                  </a:lnTo>
                  <a:cubicBezTo>
                    <a:pt x="451" y="177"/>
                    <a:pt x="459" y="169"/>
                    <a:pt x="459" y="158"/>
                  </a:cubicBezTo>
                  <a:lnTo>
                    <a:pt x="459" y="141"/>
                  </a:lnTo>
                  <a:lnTo>
                    <a:pt x="529" y="141"/>
                  </a:lnTo>
                  <a:close/>
                  <a:moveTo>
                    <a:pt x="142" y="105"/>
                  </a:moveTo>
                  <a:lnTo>
                    <a:pt x="229" y="105"/>
                  </a:lnTo>
                  <a:cubicBezTo>
                    <a:pt x="235" y="105"/>
                    <a:pt x="241" y="103"/>
                    <a:pt x="245" y="97"/>
                  </a:cubicBezTo>
                  <a:lnTo>
                    <a:pt x="275" y="36"/>
                  </a:lnTo>
                  <a:lnTo>
                    <a:pt x="290" y="36"/>
                  </a:lnTo>
                  <a:lnTo>
                    <a:pt x="320" y="97"/>
                  </a:lnTo>
                  <a:cubicBezTo>
                    <a:pt x="322" y="103"/>
                    <a:pt x="328" y="105"/>
                    <a:pt x="334" y="105"/>
                  </a:cubicBezTo>
                  <a:lnTo>
                    <a:pt x="423" y="105"/>
                  </a:lnTo>
                  <a:lnTo>
                    <a:pt x="423" y="141"/>
                  </a:lnTo>
                  <a:lnTo>
                    <a:pt x="142" y="141"/>
                  </a:lnTo>
                  <a:close/>
                  <a:moveTo>
                    <a:pt x="546" y="105"/>
                  </a:moveTo>
                  <a:lnTo>
                    <a:pt x="459" y="105"/>
                  </a:lnTo>
                  <a:lnTo>
                    <a:pt x="459" y="88"/>
                  </a:lnTo>
                  <a:cubicBezTo>
                    <a:pt x="459" y="78"/>
                    <a:pt x="451" y="72"/>
                    <a:pt x="440" y="72"/>
                  </a:cubicBezTo>
                  <a:lnTo>
                    <a:pt x="345" y="72"/>
                  </a:lnTo>
                  <a:lnTo>
                    <a:pt x="315" y="10"/>
                  </a:lnTo>
                  <a:cubicBezTo>
                    <a:pt x="313" y="4"/>
                    <a:pt x="307" y="0"/>
                    <a:pt x="301" y="0"/>
                  </a:cubicBezTo>
                  <a:lnTo>
                    <a:pt x="265" y="0"/>
                  </a:lnTo>
                  <a:cubicBezTo>
                    <a:pt x="258" y="0"/>
                    <a:pt x="252" y="4"/>
                    <a:pt x="250" y="10"/>
                  </a:cubicBezTo>
                  <a:lnTo>
                    <a:pt x="218" y="72"/>
                  </a:lnTo>
                  <a:lnTo>
                    <a:pt x="123" y="72"/>
                  </a:lnTo>
                  <a:cubicBezTo>
                    <a:pt x="114" y="72"/>
                    <a:pt x="106" y="78"/>
                    <a:pt x="106" y="88"/>
                  </a:cubicBezTo>
                  <a:lnTo>
                    <a:pt x="106" y="105"/>
                  </a:lnTo>
                  <a:lnTo>
                    <a:pt x="17" y="105"/>
                  </a:lnTo>
                  <a:cubicBezTo>
                    <a:pt x="8" y="105"/>
                    <a:pt x="0" y="114"/>
                    <a:pt x="0" y="124"/>
                  </a:cubicBezTo>
                  <a:lnTo>
                    <a:pt x="0" y="793"/>
                  </a:lnTo>
                  <a:cubicBezTo>
                    <a:pt x="0" y="804"/>
                    <a:pt x="8" y="812"/>
                    <a:pt x="17" y="812"/>
                  </a:cubicBezTo>
                  <a:lnTo>
                    <a:pt x="546" y="812"/>
                  </a:lnTo>
                  <a:cubicBezTo>
                    <a:pt x="557" y="812"/>
                    <a:pt x="565" y="804"/>
                    <a:pt x="565" y="793"/>
                  </a:cubicBezTo>
                  <a:lnTo>
                    <a:pt x="565" y="124"/>
                  </a:lnTo>
                  <a:cubicBezTo>
                    <a:pt x="565" y="114"/>
                    <a:pt x="557" y="105"/>
                    <a:pt x="546" y="10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ihandform 1592">
              <a:extLst>
                <a:ext uri="{FF2B5EF4-FFF2-40B4-BE49-F238E27FC236}">
                  <a16:creationId xmlns:a16="http://schemas.microsoft.com/office/drawing/2014/main" id="{07B0D0CF-B644-46C1-9F2C-2CD7B7148407}"/>
                </a:ext>
              </a:extLst>
            </p:cNvPr>
            <p:cNvSpPr/>
            <p:nvPr/>
          </p:nvSpPr>
          <p:spPr>
            <a:xfrm>
              <a:off x="10578338" y="2232260"/>
              <a:ext cx="81725" cy="575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2" h="248">
                  <a:moveTo>
                    <a:pt x="322" y="4"/>
                  </a:moveTo>
                  <a:lnTo>
                    <a:pt x="123" y="205"/>
                  </a:lnTo>
                  <a:lnTo>
                    <a:pt x="29" y="110"/>
                  </a:lnTo>
                  <a:cubicBezTo>
                    <a:pt x="23" y="104"/>
                    <a:pt x="12" y="104"/>
                    <a:pt x="4" y="110"/>
                  </a:cubicBezTo>
                  <a:cubicBezTo>
                    <a:pt x="-1" y="119"/>
                    <a:pt x="-1" y="129"/>
                    <a:pt x="4" y="136"/>
                  </a:cubicBezTo>
                  <a:lnTo>
                    <a:pt x="110" y="241"/>
                  </a:lnTo>
                  <a:cubicBezTo>
                    <a:pt x="114" y="246"/>
                    <a:pt x="118" y="248"/>
                    <a:pt x="123" y="248"/>
                  </a:cubicBezTo>
                  <a:cubicBezTo>
                    <a:pt x="127" y="248"/>
                    <a:pt x="133" y="246"/>
                    <a:pt x="135" y="241"/>
                  </a:cubicBezTo>
                  <a:lnTo>
                    <a:pt x="347" y="30"/>
                  </a:lnTo>
                  <a:cubicBezTo>
                    <a:pt x="353" y="23"/>
                    <a:pt x="353" y="13"/>
                    <a:pt x="347" y="4"/>
                  </a:cubicBezTo>
                  <a:cubicBezTo>
                    <a:pt x="341" y="-1"/>
                    <a:pt x="330" y="-1"/>
                    <a:pt x="322" y="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de-DE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C3D4C3F4-574E-452E-A420-BAAF269E0EEF}"/>
              </a:ext>
            </a:extLst>
          </p:cNvPr>
          <p:cNvSpPr txBox="1">
            <a:spLocks/>
          </p:cNvSpPr>
          <p:nvPr/>
        </p:nvSpPr>
        <p:spPr>
          <a:xfrm>
            <a:off x="468314" y="415107"/>
            <a:ext cx="7572202" cy="900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7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/>
              <a:t>System Monitoring</a:t>
            </a:r>
            <a:endParaRPr lang="en-US" dirty="0">
              <a:solidFill>
                <a:srgbClr val="13A0D3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849A2D0-0E0C-4B57-8418-BA166A3CE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453725"/>
              </p:ext>
            </p:extLst>
          </p:nvPr>
        </p:nvGraphicFramePr>
        <p:xfrm>
          <a:off x="8415300" y="525964"/>
          <a:ext cx="3024000" cy="5907804"/>
        </p:xfrm>
        <a:graphic>
          <a:graphicData uri="http://schemas.openxmlformats.org/drawingml/2006/table">
            <a:tbl>
              <a:tblPr firstRow="1" bandRow="1"/>
              <a:tblGrid>
                <a:gridCol w="3024000">
                  <a:extLst>
                    <a:ext uri="{9D8B030D-6E8A-4147-A177-3AD203B41FA5}">
                      <a16:colId xmlns:a16="http://schemas.microsoft.com/office/drawing/2014/main" val="2555390390"/>
                    </a:ext>
                  </a:extLst>
                </a:gridCol>
              </a:tblGrid>
              <a:tr h="38428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altLang="ko-KR" sz="12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Describe Planned</a:t>
                      </a:r>
                      <a:r>
                        <a:rPr lang="en-SG" altLang="ko-KR" sz="12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altLang="ko-KR" sz="1200" b="1" baseline="0" dirty="0">
                          <a:solidFill>
                            <a:srgbClr val="13A0D3"/>
                          </a:solidFill>
                          <a:latin typeface="+mn-lt"/>
                          <a:cs typeface="Calibri" panose="020F0502020204030204" pitchFamily="34" charset="0"/>
                        </a:rPr>
                        <a:t>System Monitoring</a:t>
                      </a:r>
                      <a:endParaRPr lang="en-SG" altLang="ko-KR" sz="12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92748"/>
                  </a:ext>
                </a:extLst>
              </a:tr>
              <a:tr h="5523522">
                <a:tc>
                  <a:txBody>
                    <a:bodyPr/>
                    <a:lstStyle>
                      <a:lvl1pPr marL="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1pPr>
                      <a:lvl2pPr marL="60946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2pPr>
                      <a:lvl3pPr marL="1218926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3pPr>
                      <a:lvl4pPr marL="1828388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4pPr>
                      <a:lvl5pPr marL="2437851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5pPr>
                      <a:lvl6pPr marL="3047314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6pPr>
                      <a:lvl7pPr marL="3656777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7pPr>
                      <a:lvl8pPr marL="4266240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8pPr>
                      <a:lvl9pPr marL="4875703" algn="l" defTabSz="1218926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Lucida Sans Unicode"/>
                        </a:defRPr>
                      </a:lvl9pPr>
                    </a:lstStyle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rgbClr val="122B54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Allianz Neo PPT"/>
                          <a:ea typeface="+mn-ea"/>
                          <a:cs typeface="Calibri" panose="020F0502020204030204" pitchFamily="34" charset="0"/>
                        </a:rPr>
                        <a:t>System Monitoring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nfrastructure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iddleware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plications</a:t>
                      </a: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122B5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l" defTabSz="12189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22B5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ystem Performance</a:t>
                      </a:r>
                    </a:p>
                  </a:txBody>
                  <a:tcPr>
                    <a:lnL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EEECE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095086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CBE3A1D4-9A36-4104-B0E8-F46AB273EE26}"/>
              </a:ext>
            </a:extLst>
          </p:cNvPr>
          <p:cNvSpPr txBox="1"/>
          <p:nvPr/>
        </p:nvSpPr>
        <p:spPr>
          <a:xfrm>
            <a:off x="1218435" y="2268538"/>
            <a:ext cx="5004575" cy="23237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510" b="1" spc="100" dirty="0">
                <a:solidFill>
                  <a:srgbClr val="13A0D3"/>
                </a:solidFill>
              </a:rPr>
              <a:t>&lt;Illustrate System Monitoring tools and data flow&gt;</a:t>
            </a:r>
          </a:p>
        </p:txBody>
      </p:sp>
    </p:spTree>
    <p:extLst>
      <p:ext uri="{BB962C8B-B14F-4D97-AF65-F5344CB8AC3E}">
        <p14:creationId xmlns:p14="http://schemas.microsoft.com/office/powerpoint/2010/main" val="1035536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lianz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llianzNeoPPT Fonts">
      <a:majorFont>
        <a:latin typeface="Allianz Neo PPT"/>
        <a:ea typeface=""/>
        <a:cs typeface=""/>
      </a:majorFont>
      <a:minorFont>
        <a:latin typeface="Allianz Neo PP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>
        <a:spAutoFit/>
      </a:bodyPr>
      <a:lstStyle>
        <a:defPPr algn="l">
          <a:spcAft>
            <a:spcPts val="600"/>
          </a:spcAft>
          <a:defRPr sz="1510" b="1" spc="100" smtClean="0">
            <a:solidFill>
              <a:srgbClr val="13A0D3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2.xml><?xml version="1.0" encoding="utf-8"?>
<a:theme xmlns:a="http://schemas.openxmlformats.org/drawingml/2006/main" name="Allianz blu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llianzNeoPPT Fonts">
      <a:majorFont>
        <a:latin typeface="Allianz Neo PPT"/>
        <a:ea typeface=""/>
        <a:cs typeface=""/>
      </a:majorFont>
      <a:minorFont>
        <a:latin typeface="Allianz Neo PP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>
        <a:spAutoFit/>
      </a:bodyPr>
      <a:lstStyle>
        <a:defPPr algn="l">
          <a:spcAft>
            <a:spcPts val="600"/>
          </a:spcAft>
          <a:defRPr sz="1510" b="1" spc="100" smtClean="0">
            <a:solidFill>
              <a:srgbClr val="13A0D3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E4CD1E4EB4E5489E6A936CDEF64161" ma:contentTypeVersion="117" ma:contentTypeDescription="Create a new document." ma:contentTypeScope="" ma:versionID="3fbc5d83b548f0824f1e753456a86849">
  <xsd:schema xmlns:xsd="http://www.w3.org/2001/XMLSchema" xmlns:xs="http://www.w3.org/2001/XMLSchema" xmlns:p="http://schemas.microsoft.com/office/2006/metadata/properties" xmlns:ns1="http://schemas.microsoft.com/sharepoint/v3" xmlns:ns2="1d5150b6-ca58-4dbf-ab9e-3c15ed9286ee" xmlns:ns3="5e3012e5-6826-4ad2-a601-81506778bc98" targetNamespace="http://schemas.microsoft.com/office/2006/metadata/properties" ma:root="true" ma:fieldsID="5bffd6225e9e47eb67684ee4b565d540" ns1:_="" ns2:_="" ns3:_="">
    <xsd:import namespace="http://schemas.microsoft.com/sharepoint/v3"/>
    <xsd:import namespace="1d5150b6-ca58-4dbf-ab9e-3c15ed9286ee"/>
    <xsd:import namespace="5e3012e5-6826-4ad2-a601-81506778bc98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  <xsd:element ref="ns3:_dlc_DocId" minOccurs="0"/>
                <xsd:element ref="ns3:_dlc_DocIdUrl" minOccurs="0"/>
                <xsd:element ref="ns3:_dlc_DocIdPersistId" minOccurs="0"/>
                <xsd:element ref="ns3:a955874fdd914480b4d26665dc4b0fe0" minOccurs="0"/>
                <xsd:element ref="ns3:ContractDate" minOccurs="0"/>
                <xsd:element ref="ns3:DossierOwner" minOccurs="0"/>
                <xsd:element ref="ns3:DossierStatus" minOccurs="0"/>
                <xsd:element ref="ns3:fbab93ad432042b6b140340695a6a98d" minOccurs="0"/>
                <xsd:element ref="ns3:MailPreviewData" minOccurs="0"/>
                <xsd:element ref="ns3:ContractExpirationDate" minOccurs="0"/>
                <xsd:element ref="ns3:AlDescription" minOccurs="0"/>
                <xsd:element ref="ns3:DocumentClass" minOccurs="0"/>
                <xsd:element ref="ns3:Document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hidden="true" ma:internalName="DocumentSetDescription" ma:readOnly="false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5150b6-ca58-4dbf-ab9e-3c15ed9286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hidden="true" ma:internalName="MediaServiceKeyPoints" ma:readOnly="true">
      <xsd:simpleType>
        <xsd:restriction base="dms:Note"/>
      </xsd:simpleType>
    </xsd:element>
    <xsd:element name="MediaServiceAutoTags" ma:index="15" nillable="true" ma:displayName="Tags" ma:hidden="true" ma:internalName="MediaServiceAutoTags" ma:readOnly="true">
      <xsd:simpleType>
        <xsd:restriction base="dms:Text"/>
      </xsd:simpleType>
    </xsd:element>
    <xsd:element name="MediaServiceOCR" ma:index="16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3012e5-6826-4ad2-a601-81506778bc9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hidden="true" ma:internalName="SharedWithDetails" ma:readOnly="true">
      <xsd:simpleType>
        <xsd:restriction base="dms:Note"/>
      </xsd:simpleType>
    </xsd:element>
    <xsd:element name="TaxCatchAll" ma:index="25" nillable="true" ma:displayName="Taxonomy Catch All Column" ma:hidden="true" ma:list="{a757a152-628d-490c-9fce-f1fab0b6bcde}" ma:internalName="TaxCatchAll" ma:readOnly="false" ma:showField="CatchAllData" ma:web="5e3012e5-6826-4ad2-a601-81506778bc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26" nillable="true" ma:displayName="Document ID Value" ma:description="The value of the document ID assigned to this item." ma:hidden="true" ma:indexed="true" ma:internalName="_dlc_DocId" ma:readOnly="fals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a955874fdd914480b4d26665dc4b0fe0" ma:index="29" nillable="true" ma:taxonomy="true" ma:internalName="a955874fdd914480b4d26665dc4b0fe0" ma:taxonomyFieldName="Contract_Type" ma:displayName="Contract Type" ma:readOnly="false" ma:fieldId="{a955874f-dd91-4480-b4d2-6665dc4b0fe0}" ma:sspId="10820af1-e82f-496e-bbcb-d9502914b7b2" ma:termSetId="70805c8f-f58a-429f-b5cb-62c5b6dc552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ntractDate" ma:index="31" nillable="true" ma:displayName="Contract Date" ma:description="Date when the contract has been closed." ma:format="DateOnly" ma:hidden="true" ma:internalName="ContractDate" ma:readOnly="false">
      <xsd:simpleType>
        <xsd:restriction base="dms:DateTime"/>
      </xsd:simpleType>
    </xsd:element>
    <xsd:element name="DossierOwner" ma:index="32" nillable="true" ma:displayName="Dossier owner(s)" ma:description="Person(s) owning the dossier." ma:hidden="true" ma:internalName="Dossier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ossierStatus" ma:index="33" nillable="true" ma:displayName="Dossier Status" ma:default="" ma:description="Indicate the status of the dossier." ma:hidden="true" ma:internalName="DossierStatus" ma:readOnly="false">
      <xsd:simpleType>
        <xsd:restriction base="dms:Choice">
          <xsd:enumeration value="Open"/>
          <xsd:enumeration value="Closed"/>
        </xsd:restriction>
      </xsd:simpleType>
    </xsd:element>
    <xsd:element name="fbab93ad432042b6b140340695a6a98d" ma:index="34" nillable="true" ma:taxonomy="true" ma:internalName="fbab93ad432042b6b140340695a6a98d" ma:taxonomyFieldName="Document_Class" ma:displayName="Document Class" ma:readOnly="false" ma:fieldId="{fbab93ad-4320-42b6-b140-340695a6a98d}" ma:sspId="10820af1-e82f-496e-bbcb-d9502914b7b2" ma:termSetId="59c2e506-aae7-4e5e-8d92-a831c0260ff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ailPreviewData" ma:index="36" nillable="true" ma:displayName="Mail Preview" ma:description="File preview for harmonie" ma:hidden="true" ma:internalName="MailPreviewData" ma:readOnly="false">
      <xsd:simpleType>
        <xsd:restriction base="dms:Note"/>
      </xsd:simpleType>
    </xsd:element>
    <xsd:element name="ContractExpirationDate" ma:index="37" nillable="true" ma:displayName="Expiry Date" ma:description="Date when the contract has been terminated." ma:format="DateOnly" ma:hidden="true" ma:internalName="ContractExpirationDate" ma:readOnly="false">
      <xsd:simpleType>
        <xsd:restriction base="dms:DateTime"/>
      </xsd:simpleType>
    </xsd:element>
    <xsd:element name="AlDescription" ma:index="38" nillable="true" ma:displayName="Description" ma:description="Enter descriptions or remarks on the matter if required." ma:hidden="true" ma:internalName="AlDescription">
      <xsd:simpleType>
        <xsd:restriction base="dms:Text"/>
      </xsd:simpleType>
    </xsd:element>
    <xsd:element name="DocumentClass" ma:index="39" nillable="true" ma:displayName="Document Class" ma:description="Attribute to classify the Document according to the Document Retention Schedule" ma:format="Dropdown" ma:hidden="true" ma:internalName="DocumentClass">
      <xsd:simpleType>
        <xsd:restriction base="dms:Choice">
          <xsd:enumeration value="Business letter"/>
          <xsd:enumeration value="Accounting record"/>
          <xsd:enumeration value="Important documentation or decision"/>
          <xsd:enumeration value="Decision of supervisory authority"/>
          <xsd:enumeration value="Decision of authority"/>
          <xsd:enumeration value="Documentation of decisions of the Board of Management"/>
          <xsd:enumeration value="Documentation of decisions of the Supervisory Board"/>
          <xsd:enumeration value="Financial statement or report"/>
          <xsd:enumeration value="Account book or list of assets"/>
          <xsd:enumeration value="Documentation for accounting or bookkeeping"/>
          <xsd:enumeration value="Corporate Rule"/>
          <xsd:enumeration value="Statutes, shareholders’ agreement or other corporate document"/>
          <xsd:enumeration value="Documentation on anti-money laundering or economic sanctions"/>
        </xsd:restriction>
      </xsd:simpleType>
    </xsd:element>
    <xsd:element name="DocumentDate" ma:index="40" nillable="true" ma:displayName="Document Date" ma:description=" Actual legal date when the document has been released/ signed ." ma:format="DateOnly" ma:hidden="true" ma:internalName="Document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etDescription xmlns="http://schemas.microsoft.com/sharepoint/v3" xsi:nil="true"/>
    <ContractExpirationDate xmlns="5e3012e5-6826-4ad2-a601-81506778bc98" xsi:nil="true"/>
    <DocumentClass xmlns="5e3012e5-6826-4ad2-a601-81506778bc98" xsi:nil="true"/>
    <ContractDate xmlns="5e3012e5-6826-4ad2-a601-81506778bc98" xsi:nil="true"/>
    <_dlc_DocIdPersistId xmlns="5e3012e5-6826-4ad2-a601-81506778bc98" xsi:nil="true"/>
    <_ip_UnifiedCompliancePolicyUIAction xmlns="http://schemas.microsoft.com/sharepoint/v3" xsi:nil="true"/>
    <DocumentDate xmlns="5e3012e5-6826-4ad2-a601-81506778bc98" xsi:nil="true"/>
    <DossierStatus xmlns="5e3012e5-6826-4ad2-a601-81506778bc98" xsi:nil="true"/>
    <fbab93ad432042b6b140340695a6a98d xmlns="5e3012e5-6826-4ad2-a601-81506778bc98">
      <Terms xmlns="http://schemas.microsoft.com/office/infopath/2007/PartnerControls"/>
    </fbab93ad432042b6b140340695a6a98d>
    <MailPreviewData xmlns="5e3012e5-6826-4ad2-a601-81506778bc98" xsi:nil="true"/>
    <a955874fdd914480b4d26665dc4b0fe0 xmlns="5e3012e5-6826-4ad2-a601-81506778bc98">
      <Terms xmlns="http://schemas.microsoft.com/office/infopath/2007/PartnerControls"/>
    </a955874fdd914480b4d26665dc4b0fe0>
    <_ip_UnifiedCompliancePolicyProperties xmlns="http://schemas.microsoft.com/sharepoint/v3" xsi:nil="true"/>
    <AlDescription xmlns="5e3012e5-6826-4ad2-a601-81506778bc98" xsi:nil="true"/>
    <TaxCatchAll xmlns="5e3012e5-6826-4ad2-a601-81506778bc98" xsi:nil="true"/>
    <_dlc_DocIdUrl xmlns="5e3012e5-6826-4ad2-a601-81506778bc98">
      <Url>https://allianzms.sharepoint.com/teams/SG0002-2505151/_layouts/15/DocIdRedir.aspx?ID=CTMNZM24V7MH-2049311080-12550</Url>
      <Description>CTMNZM24V7MH-2049311080-12550</Description>
    </_dlc_DocIdUrl>
    <lcf76f155ced4ddcb4097134ff3c332f xmlns="1d5150b6-ca58-4dbf-ab9e-3c15ed9286ee">
      <Terms xmlns="http://schemas.microsoft.com/office/infopath/2007/PartnerControls"/>
    </lcf76f155ced4ddcb4097134ff3c332f>
    <_dlc_DocId xmlns="5e3012e5-6826-4ad2-a601-81506778bc98">CTMNZM24V7MH-2049311080-12550</_dlc_DocId>
    <DossierOwner xmlns="5e3012e5-6826-4ad2-a601-81506778bc98">
      <UserInfo>
        <DisplayName/>
        <AccountId xsi:nil="true"/>
        <AccountType/>
      </UserInfo>
    </DossierOwn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1FE99C-5E3E-4B93-963A-4D5F5A3225F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AE557EC-AC59-4216-B377-C0930F04FC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d5150b6-ca58-4dbf-ab9e-3c15ed9286ee"/>
    <ds:schemaRef ds:uri="5e3012e5-6826-4ad2-a601-81506778bc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238861-3DAC-4F8A-8FBD-A33F14A90246}">
  <ds:schemaRefs>
    <ds:schemaRef ds:uri="http://purl.org/dc/elements/1.1/"/>
    <ds:schemaRef ds:uri="http://schemas.microsoft.com/office/2006/metadata/properties"/>
    <ds:schemaRef ds:uri="http://schemas.microsoft.com/sharepoint/v3"/>
    <ds:schemaRef ds:uri="1d5150b6-ca58-4dbf-ab9e-3c15ed9286e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e3012e5-6826-4ad2-a601-81506778bc98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979EEEB4-116B-45D7-A00E-4485C1BF49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Allianz Benutzerfarben</Template>
  <TotalTime>0</TotalTime>
  <Words>2097</Words>
  <Application>Microsoft Office PowerPoint</Application>
  <PresentationFormat>Custom</PresentationFormat>
  <Paragraphs>649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llianz Neo PPT</vt:lpstr>
      <vt:lpstr>Allianz Neo</vt:lpstr>
      <vt:lpstr>Wingdings</vt:lpstr>
      <vt:lpstr>Arial</vt:lpstr>
      <vt:lpstr>Calibri</vt:lpstr>
      <vt:lpstr>Lucida Sans Unicode</vt:lpstr>
      <vt:lpstr>Allianz white</vt:lpstr>
      <vt:lpstr>Allianz blue</vt:lpstr>
      <vt:lpstr>think-cell Slide</vt:lpstr>
      <vt:lpstr>&lt;OE&gt; Cloud Adoption:  Lift &amp; Shift</vt:lpstr>
      <vt:lpstr>Project: Overview</vt:lpstr>
      <vt:lpstr>Architecture Principles</vt:lpstr>
      <vt:lpstr>Architecture Assumptions, Risk &amp; Debt</vt:lpstr>
      <vt:lpstr>Cloud Account Structure </vt:lpstr>
      <vt:lpstr>Network Zo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roach &amp; 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k Schulz</dc:creator>
  <cp:lastModifiedBy>Tan, Vincent (Allianz SE Singapore Branch)</cp:lastModifiedBy>
  <cp:revision>161</cp:revision>
  <dcterms:created xsi:type="dcterms:W3CDTF">2021-05-25T12:15:33Z</dcterms:created>
  <dcterms:modified xsi:type="dcterms:W3CDTF">2023-04-13T09:0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E4CD1E4EB4E5489E6A936CDEF64161</vt:lpwstr>
  </property>
  <property fmtid="{D5CDD505-2E9C-101B-9397-08002B2CF9AE}" pid="3" name="MSIP_Label_863bc15e-e7bf-41c1-bdb3-03882d8a2e2c_Enabled">
    <vt:lpwstr>true</vt:lpwstr>
  </property>
  <property fmtid="{D5CDD505-2E9C-101B-9397-08002B2CF9AE}" pid="4" name="MSIP_Label_863bc15e-e7bf-41c1-bdb3-03882d8a2e2c_SetDate">
    <vt:lpwstr>2023-03-27T09:50:03Z</vt:lpwstr>
  </property>
  <property fmtid="{D5CDD505-2E9C-101B-9397-08002B2CF9AE}" pid="5" name="MSIP_Label_863bc15e-e7bf-41c1-bdb3-03882d8a2e2c_Method">
    <vt:lpwstr>Privileged</vt:lpwstr>
  </property>
  <property fmtid="{D5CDD505-2E9C-101B-9397-08002B2CF9AE}" pid="6" name="MSIP_Label_863bc15e-e7bf-41c1-bdb3-03882d8a2e2c_Name">
    <vt:lpwstr>863bc15e-e7bf-41c1-bdb3-03882d8a2e2c</vt:lpwstr>
  </property>
  <property fmtid="{D5CDD505-2E9C-101B-9397-08002B2CF9AE}" pid="7" name="MSIP_Label_863bc15e-e7bf-41c1-bdb3-03882d8a2e2c_SiteId">
    <vt:lpwstr>6e06e42d-6925-47c6-b9e7-9581c7ca302a</vt:lpwstr>
  </property>
  <property fmtid="{D5CDD505-2E9C-101B-9397-08002B2CF9AE}" pid="8" name="MSIP_Label_863bc15e-e7bf-41c1-bdb3-03882d8a2e2c_ActionId">
    <vt:lpwstr>5c8b73a5-c369-489f-911d-6e614d741515</vt:lpwstr>
  </property>
  <property fmtid="{D5CDD505-2E9C-101B-9397-08002B2CF9AE}" pid="9" name="MSIP_Label_863bc15e-e7bf-41c1-bdb3-03882d8a2e2c_ContentBits">
    <vt:lpwstr>1</vt:lpwstr>
  </property>
  <property fmtid="{D5CDD505-2E9C-101B-9397-08002B2CF9AE}" pid="10" name="_dlc_DocIdItemGuid">
    <vt:lpwstr>5b255741-696d-46fa-b434-216c1be92c00</vt:lpwstr>
  </property>
  <property fmtid="{D5CDD505-2E9C-101B-9397-08002B2CF9AE}" pid="11" name="DossierDepartment">
    <vt:lpwstr/>
  </property>
  <property fmtid="{D5CDD505-2E9C-101B-9397-08002B2CF9AE}" pid="12" name="AllianzContractingParties">
    <vt:lpwstr/>
  </property>
  <property fmtid="{D5CDD505-2E9C-101B-9397-08002B2CF9AE}" pid="13" name="MediaServiceImageTags">
    <vt:lpwstr/>
  </property>
  <property fmtid="{D5CDD505-2E9C-101B-9397-08002B2CF9AE}" pid="14" name="Contract_Type">
    <vt:lpwstr/>
  </property>
  <property fmtid="{D5CDD505-2E9C-101B-9397-08002B2CF9AE}" pid="15" name="lb42efd36e3c40649b6d57fcd0808aa9">
    <vt:lpwstr/>
  </property>
  <property fmtid="{D5CDD505-2E9C-101B-9397-08002B2CF9AE}" pid="16" name="Document_Class">
    <vt:lpwstr/>
  </property>
  <property fmtid="{D5CDD505-2E9C-101B-9397-08002B2CF9AE}" pid="17" name="efdd366f1fd6440399ac9a3a481af795">
    <vt:lpwstr/>
  </property>
</Properties>
</file>